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10.vml" ContentType="application/vnd.openxmlformats-officedocument.vmlDrawing"/>
  <Override PartName="/ppt/drawings/vmlDrawing11.vml" ContentType="application/vnd.openxmlformats-officedocument.vmlDrawing"/>
  <Override PartName="/ppt/drawings/vmlDrawing12.vml" ContentType="application/vnd.openxmlformats-officedocument.vmlDrawing"/>
  <Override PartName="/ppt/drawings/vmlDrawing13.vml" ContentType="application/vnd.openxmlformats-officedocument.vmlDrawing"/>
  <Override PartName="/ppt/drawings/vmlDrawing14.vml" ContentType="application/vnd.openxmlformats-officedocument.vmlDrawing"/>
  <Override PartName="/ppt/drawings/vmlDrawing15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drawings/vmlDrawing8.vml" ContentType="application/vnd.openxmlformats-officedocument.vmlDrawing"/>
  <Override PartName="/ppt/drawings/vmlDrawing9.vml" ContentType="application/vnd.openxmlformats-officedocument.vmlDrawing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19"/>
  </p:notesMasterIdLst>
  <p:sldIdLst>
    <p:sldId id="266" r:id="rId2"/>
    <p:sldId id="263" r:id="rId3"/>
    <p:sldId id="275" r:id="rId4"/>
    <p:sldId id="322" r:id="rId25"/>
    <p:sldId id="323" r:id="rId26"/>
    <p:sldId id="303" r:id="rId5"/>
    <p:sldId id="307" r:id="rId16"/>
    <p:sldId id="324" r:id="rId27"/>
    <p:sldId id="313" r:id="rId12"/>
    <p:sldId id="314" r:id="rId13"/>
    <p:sldId id="320" r:id="rId14"/>
    <p:sldId id="304" r:id="rId17"/>
    <p:sldId id="299" r:id="rId18"/>
  </p:sldIdLst>
  <p:sldSz cx="9906000" cy="6858000" type="A4"/>
  <p:notesSz cx="6797675" cy="9926638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452"/>
    <a:srgbClr val="8BA2BB"/>
    <a:srgbClr val="FBEEEA"/>
    <a:srgbClr val="F6EEE0"/>
    <a:srgbClr val="00734A"/>
    <a:srgbClr val="D55633"/>
    <a:srgbClr val="B6B6B6"/>
    <a:srgbClr val="B7D0D4"/>
    <a:srgbClr val="757575"/>
    <a:srgbClr val="E9B8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44" autoAdjust="0"/>
    <p:restoredTop sz="96395" autoAdjust="0"/>
  </p:normalViewPr>
  <p:slideViewPr>
    <p:cSldViewPr snapToGrid="0">
      <p:cViewPr varScale="1">
        <p:scale>
          <a:sx n="115" d="100"/>
          <a:sy n="115" d="100"/>
        </p:scale>
        <p:origin x="858" y="108"/>
      </p:cViewPr>
      <p:guideLst/>
    </p:cSldViewPr>
  </p:slideViewPr>
  <p:outlineViewPr>
    <p:cViewPr>
      <p:scale>
        <a:sx n="33" d="100"/>
        <a:sy n="33" d="100"/>
      </p:scale>
      <p:origin x="0" y="-231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690"/>
    </p:cViewPr>
  </p:sorterViewPr>
  <p:notesViewPr>
    <p:cSldViewPr snapToGrid="0">
      <p:cViewPr varScale="1">
        <p:scale>
          <a:sx n="81" d="100"/>
          <a:sy n="81" d="100"/>
        </p:scale>
        <p:origin x="2922" y="9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6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6" Type="http://schemas.openxmlformats.org/officeDocument/2006/relationships/slide" Target="slides/slide7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notesMaster" Target="notesMasters/notesMaster1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8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C4F66D35-9081-4BC0-9692-D9FCDB08226D}" type="datetimeFigureOut">
              <a:rPr lang="ko-KR" altLang="en-US" smtClean="0"/>
              <a:t>2025-12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363959-1759-4AF2-BCD1-A8244301673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8975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8" Type="http://schemas.openxmlformats.org/officeDocument/2006/relationships/image" Target="../media/image3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1.v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1.bin"/><Relationship Id="rId7" Type="http://schemas.openxmlformats.org/officeDocument/2006/relationships/image" Target="../media/image13.png"/><Relationship Id="rId8" Type="http://schemas.openxmlformats.org/officeDocument/2006/relationships/image" Target="../media/image6.png"/><Relationship Id="rId9" Type="http://schemas.openxmlformats.org/officeDocument/2006/relationships/image" Target="../media/image3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2.vml"/><Relationship Id="rId2" Type="http://schemas.openxmlformats.org/officeDocument/2006/relationships/tags" Target="../tags/tag20.xml"/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2.bin"/><Relationship Id="rId7" Type="http://schemas.openxmlformats.org/officeDocument/2006/relationships/image" Target="../media/image13.png"/><Relationship Id="rId8" Type="http://schemas.openxmlformats.org/officeDocument/2006/relationships/image" Target="../media/image3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8" Type="http://schemas.openxmlformats.org/officeDocument/2006/relationships/image" Target="../media/image3.png"/><Relationship Id="rId9" Type="http://schemas.openxmlformats.org/officeDocument/2006/relationships/image" Target="../media/image5.pn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6.png"/><Relationship Id="rId7" Type="http://schemas.openxmlformats.org/officeDocument/2006/relationships/image" Target="../media/image2.png"/><Relationship Id="rId8" Type="http://schemas.openxmlformats.org/officeDocument/2006/relationships/image" Target="../media/image3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image" Target="../media/image7.png"/><Relationship Id="rId7" Type="http://schemas.openxmlformats.org/officeDocument/2006/relationships/image" Target="../media/image6.png"/><Relationship Id="rId8" Type="http://schemas.openxmlformats.org/officeDocument/2006/relationships/image" Target="../media/image8.png"/><Relationship Id="rId9" Type="http://schemas.openxmlformats.org/officeDocument/2006/relationships/image" Target="../media/image3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6.v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10.png"/><Relationship Id="rId5" Type="http://schemas.openxmlformats.org/officeDocument/2006/relationships/oleObject" Target="../embeddings/oleObject6.bin"/><Relationship Id="rId6" Type="http://schemas.openxmlformats.org/officeDocument/2006/relationships/image" Target="../media/image9.emf"/><Relationship Id="rId7" Type="http://schemas.openxmlformats.org/officeDocument/2006/relationships/image" Target="../media/image2.png"/><Relationship Id="rId8" Type="http://schemas.openxmlformats.org/officeDocument/2006/relationships/image" Target="../media/image11.png"/><Relationship Id="rId9" Type="http://schemas.microsoft.com/office/2007/relationships/hdphoto" Target="../media/hdphoto1.wdp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7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7.bin"/><Relationship Id="rId7" Type="http://schemas.openxmlformats.org/officeDocument/2006/relationships/image" Target="../media/image12.png"/><Relationship Id="rId8" Type="http://schemas.openxmlformats.org/officeDocument/2006/relationships/image" Target="../media/image3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8.v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8.bin"/><Relationship Id="rId7" Type="http://schemas.openxmlformats.org/officeDocument/2006/relationships/image" Target="../media/image4.png"/><Relationship Id="rId8" Type="http://schemas.openxmlformats.org/officeDocument/2006/relationships/image" Target="../media/image3.png"/><Relationship Id="rId9" Type="http://schemas.openxmlformats.org/officeDocument/2006/relationships/image" Target="../media/image5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9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9.bin"/><Relationship Id="rId7" Type="http://schemas.openxmlformats.org/officeDocument/2006/relationships/image" Target="../media/image3.png"/><Relationship Id="rId8" Type="http://schemas.openxmlformats.org/officeDocument/2006/relationships/image" Target="../media/image5.pn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0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0.bin"/><Relationship Id="rId7" Type="http://schemas.openxmlformats.org/officeDocument/2006/relationships/image" Target="../media/image3.png"/><Relationship Id="rId8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46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91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bIns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직사각형 9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9350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커버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5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7" hasCustomPrompt="1"/>
          </p:nvPr>
        </p:nvSpPr>
        <p:spPr>
          <a:xfrm>
            <a:off x="1358814" y="2158996"/>
            <a:ext cx="5471507" cy="90328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Font typeface="본고딕 Normal" panose="020B0400000000000000" pitchFamily="34" charset="-127"/>
              <a:buNone/>
              <a:defRPr sz="36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  <a:lvl2pPr marL="358775" indent="-88900">
              <a:buClr>
                <a:schemeClr val="tx2"/>
              </a:buClr>
              <a:defRPr sz="1400"/>
            </a:lvl2pPr>
            <a:lvl3pPr marL="446088" indent="-87313">
              <a:buClr>
                <a:srgbClr val="003760"/>
              </a:buClr>
              <a:buFont typeface="본고딕 Normal" panose="020B0400000000000000" pitchFamily="34" charset="-127"/>
              <a:buChar char="‒"/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경영이념 낭독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6770722" y="2965228"/>
            <a:ext cx="1803187" cy="17937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 spc="-2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텍스트 개체 틀 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728381" y="4758979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본고딕 Bold" panose="020B0800000000000000" pitchFamily="34" charset="-127"/>
                <a:ea typeface="본고딕 Bold" panose="020B0800000000000000" pitchFamily="34" charset="-127"/>
                <a:cs typeface="Arial" pitchFamily="34" charset="0"/>
              </a:rPr>
              <a:t>김동국 과장</a:t>
            </a:r>
            <a:endParaRPr kumimoji="0" lang="en-US" altLang="ko-KR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본고딕 Bold" panose="020B0800000000000000" pitchFamily="34" charset="-127"/>
              <a:ea typeface="본고딕 Bold" panose="020B0800000000000000" pitchFamily="34" charset="-127"/>
              <a:cs typeface="Arial" pitchFamily="34" charset="0"/>
            </a:endParaRPr>
          </a:p>
        </p:txBody>
      </p:sp>
      <p:sp>
        <p:nvSpPr>
          <p:cNvPr id="36" name="텍스트 개체 틀 9"/>
          <p:cNvSpPr>
            <a:spLocks noGrp="1"/>
          </p:cNvSpPr>
          <p:nvPr>
            <p:ph type="body" sz="quarter" idx="21" hasCustomPrompt="1"/>
          </p:nvPr>
        </p:nvSpPr>
        <p:spPr>
          <a:xfrm>
            <a:off x="6728381" y="5111152"/>
            <a:ext cx="1788710" cy="405154"/>
          </a:xfrm>
        </p:spPr>
        <p:txBody>
          <a:bodyPr anchor="ctr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spc="-20" baseline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34B"/>
                </a:solidFill>
                <a:effectLst/>
                <a:uLnTx/>
                <a:uFillTx/>
                <a:latin typeface="본고딕 Medium" panose="020B0600000000000000" pitchFamily="34" charset="-127"/>
                <a:ea typeface="본고딕 Medium" panose="020B0600000000000000" pitchFamily="34" charset="-127"/>
                <a:cs typeface="+mn-cs"/>
              </a:rPr>
              <a:t>ㅇㅇㅇㅇㅇ팀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00234B"/>
              </a:solidFill>
              <a:effectLst/>
              <a:uLnTx/>
              <a:uFillTx/>
              <a:latin typeface="본고딕 Medium" panose="020B0600000000000000" pitchFamily="34" charset="-127"/>
              <a:ea typeface="본고딕 Medium" panose="020B0600000000000000" pitchFamily="34" charset="-127"/>
              <a:cs typeface="+mn-cs"/>
            </a:endParaRPr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9" name="직선 연결선 9">
            <a:extLst>
              <a:ext uri="{FF2B5EF4-FFF2-40B4-BE49-F238E27FC236}">
                <a16:creationId xmlns="" xmlns:a16="http://schemas.microsoft.com/office/drawing/2014/main" id="{B38DA655-A6FB-408C-901D-AC59597C3399}"/>
              </a:ext>
            </a:extLst>
          </p:cNvPr>
          <p:cNvCxnSpPr>
            <a:cxnSpLocks/>
          </p:cNvCxnSpPr>
          <p:nvPr userDrawn="1"/>
        </p:nvCxnSpPr>
        <p:spPr>
          <a:xfrm>
            <a:off x="1441622" y="2815998"/>
            <a:ext cx="707546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636083" y="1906080"/>
            <a:ext cx="74502" cy="431329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23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경영이념 본문_동국제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7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316" y="140123"/>
            <a:ext cx="1930533" cy="212926"/>
          </a:xfrm>
          <a:prstGeom prst="rect">
            <a:avLst/>
          </a:prstGeom>
        </p:spPr>
      </p:pic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32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628650" y="501650"/>
            <a:ext cx="3200651" cy="472078"/>
          </a:xfrm>
        </p:spPr>
        <p:txBody>
          <a:bodyPr vert="horz" bIns="0" anchor="b" anchorCtr="0">
            <a:noAutofit/>
          </a:bodyPr>
          <a:lstStyle>
            <a:lvl1pPr>
              <a:lnSpc>
                <a:spcPct val="110000"/>
              </a:lnSpc>
              <a:defRPr sz="3200" spc="-2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r>
              <a:rPr lang="ko-KR" altLang="en-US" dirty="0" smtClean="0"/>
              <a:t>경영이념</a:t>
            </a:r>
            <a:endParaRPr lang="ko-KR" altLang="en-US" dirty="0"/>
          </a:p>
        </p:txBody>
      </p:sp>
      <p:sp>
        <p:nvSpPr>
          <p:cNvPr id="26" name="Rectangle 3"/>
          <p:cNvSpPr/>
          <p:nvPr userDrawn="1"/>
        </p:nvSpPr>
        <p:spPr>
          <a:xfrm>
            <a:off x="628650" y="1174796"/>
            <a:ext cx="8623300" cy="4927553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bg2"/>
              </a:solidFill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2647949" y="1762638"/>
            <a:ext cx="6324601" cy="72021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31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933450" y="2166734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47" name="텍스트 개체 틀 5"/>
          <p:cNvSpPr>
            <a:spLocks noGrp="1"/>
          </p:cNvSpPr>
          <p:nvPr>
            <p:ph type="body" sz="quarter" idx="16" hasCustomPrompt="1"/>
          </p:nvPr>
        </p:nvSpPr>
        <p:spPr>
          <a:xfrm>
            <a:off x="933450" y="1676388"/>
            <a:ext cx="1371600" cy="410603"/>
          </a:xfrm>
        </p:spPr>
        <p:txBody>
          <a:bodyPr anchor="ctr" anchorCtr="0">
            <a:noAutofit/>
          </a:bodyPr>
          <a:lstStyle>
            <a:lvl1pPr marL="0" indent="0" algn="dist">
              <a:lnSpc>
                <a:spcPct val="120000"/>
              </a:lnSpc>
              <a:buNone/>
              <a:defRPr sz="2000" spc="-20" baseline="0">
                <a:solidFill>
                  <a:schemeClr val="tx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내용</a:t>
            </a:r>
            <a:endParaRPr lang="ko-KR" altLang="en-US" dirty="0"/>
          </a:p>
        </p:txBody>
      </p:sp>
      <p:sp>
        <p:nvSpPr>
          <p:cNvPr id="18" name="직사각형 17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842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6068">
          <p15:clr>
            <a:srgbClr val="FBAE40"/>
          </p15:clr>
        </p15:guide>
        <p15:guide id="4" pos="1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보고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77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30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sp>
        <p:nvSpPr>
          <p:cNvPr id="22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27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11" name="직사각형 10"/>
          <p:cNvSpPr/>
          <p:nvPr userDrawn="1"/>
        </p:nvSpPr>
        <p:spPr>
          <a:xfrm>
            <a:off x="0" y="-2874"/>
            <a:ext cx="9906000" cy="36000"/>
          </a:xfrm>
          <a:prstGeom prst="rect">
            <a:avLst/>
          </a:prstGeom>
          <a:gradFill>
            <a:gsLst>
              <a:gs pos="38000">
                <a:srgbClr val="002452"/>
              </a:gs>
              <a:gs pos="0">
                <a:srgbClr val="C51F2A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028" y="6473266"/>
            <a:ext cx="1391132" cy="2071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47" y="6473266"/>
            <a:ext cx="1222865" cy="218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59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pos="3120">
          <p15:clr>
            <a:srgbClr val="FBAE40"/>
          </p15:clr>
        </p15:guide>
        <p15:guide id="3" pos="262" userDrawn="1">
          <p15:clr>
            <a:srgbClr val="FBAE40"/>
          </p15:clr>
        </p15:guide>
        <p15:guide id="4" pos="6068">
          <p15:clr>
            <a:srgbClr val="FBAE40"/>
          </p15:clr>
        </p15:guide>
        <p15:guide id="6" orient="horz" pos="1434">
          <p15:clr>
            <a:srgbClr val="FBAE40"/>
          </p15:clr>
        </p15:guide>
        <p15:guide id="8" orient="horz" pos="4247">
          <p15:clr>
            <a:srgbClr val="FBAE40"/>
          </p15:clr>
        </p15:guide>
        <p15:guide id="9" orient="horz" pos="20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47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63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 userDrawn="1"/>
        </p:nvSpPr>
        <p:spPr>
          <a:xfrm>
            <a:off x="1" y="-5622"/>
            <a:ext cx="9906000" cy="6154911"/>
          </a:xfrm>
          <a:prstGeom prst="rect">
            <a:avLst/>
          </a:prstGeom>
          <a:gradFill>
            <a:gsLst>
              <a:gs pos="0">
                <a:srgbClr val="4B647F"/>
              </a:gs>
              <a:gs pos="80000">
                <a:srgbClr val="0F1F3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721683" y="1906080"/>
            <a:ext cx="74502" cy="431329"/>
          </a:xfrm>
          <a:prstGeom prst="rect">
            <a:avLst/>
          </a:prstGeom>
        </p:spPr>
      </p:pic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442132" y="2276475"/>
            <a:ext cx="6855975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5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266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  <p15:guide id="3" orient="horz" pos="2047" userDrawn="1">
          <p15:clr>
            <a:srgbClr val="FBAE40"/>
          </p15:clr>
        </p15:guide>
        <p15:guide id="4" orient="horz" pos="1434" userDrawn="1">
          <p15:clr>
            <a:srgbClr val="FBAE40"/>
          </p15:clr>
        </p15:guide>
        <p15:guide id="5" pos="26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70주년 표지(디자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11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05"/>
          <a:stretch/>
        </p:blipFill>
        <p:spPr>
          <a:xfrm>
            <a:off x="0" y="3197"/>
            <a:ext cx="9906000" cy="552548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7631" y="2224397"/>
            <a:ext cx="74502" cy="431329"/>
          </a:xfrm>
          <a:prstGeom prst="rect">
            <a:avLst/>
          </a:prstGeom>
        </p:spPr>
      </p:pic>
      <p:grpSp>
        <p:nvGrpSpPr>
          <p:cNvPr id="9" name="그룹 8"/>
          <p:cNvGrpSpPr/>
          <p:nvPr userDrawn="1"/>
        </p:nvGrpSpPr>
        <p:grpSpPr>
          <a:xfrm>
            <a:off x="6610294" y="2"/>
            <a:ext cx="3295706" cy="6278571"/>
            <a:chOff x="6610294" y="2"/>
            <a:chExt cx="3295706" cy="6278571"/>
          </a:xfrm>
          <a:solidFill>
            <a:schemeClr val="tx2">
              <a:alpha val="5000"/>
            </a:schemeClr>
          </a:solidFill>
        </p:grpSpPr>
        <p:sp>
          <p:nvSpPr>
            <p:cNvPr id="10" name="직사각형 6"/>
            <p:cNvSpPr/>
            <p:nvPr/>
          </p:nvSpPr>
          <p:spPr>
            <a:xfrm rot="2515217">
              <a:off x="6610294" y="3164258"/>
              <a:ext cx="1057133" cy="3114315"/>
            </a:xfrm>
            <a:custGeom>
              <a:avLst/>
              <a:gdLst>
                <a:gd name="connsiteX0" fmla="*/ 0 w 1028870"/>
                <a:gd name="connsiteY0" fmla="*/ 0 h 2292585"/>
                <a:gd name="connsiteX1" fmla="*/ 1028870 w 1028870"/>
                <a:gd name="connsiteY1" fmla="*/ 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915610 w 1028870"/>
                <a:gd name="connsiteY1" fmla="*/ 287310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0 w 1028870"/>
                <a:gd name="connsiteY0" fmla="*/ 0 h 2292585"/>
                <a:gd name="connsiteX1" fmla="*/ 1020260 w 1028870"/>
                <a:gd name="connsiteY1" fmla="*/ 97338 h 2292585"/>
                <a:gd name="connsiteX2" fmla="*/ 1028870 w 1028870"/>
                <a:gd name="connsiteY2" fmla="*/ 2292585 h 2292585"/>
                <a:gd name="connsiteX3" fmla="*/ 0 w 1028870"/>
                <a:gd name="connsiteY3" fmla="*/ 2292585 h 2292585"/>
                <a:gd name="connsiteX4" fmla="*/ 0 w 1028870"/>
                <a:gd name="connsiteY4" fmla="*/ 0 h 2292585"/>
                <a:gd name="connsiteX0" fmla="*/ 251001 w 1028870"/>
                <a:gd name="connsiteY0" fmla="*/ 189336 h 2195247"/>
                <a:gd name="connsiteX1" fmla="*/ 1020260 w 1028870"/>
                <a:gd name="connsiteY1" fmla="*/ 0 h 2195247"/>
                <a:gd name="connsiteX2" fmla="*/ 1028870 w 1028870"/>
                <a:gd name="connsiteY2" fmla="*/ 2195247 h 2195247"/>
                <a:gd name="connsiteX3" fmla="*/ 0 w 1028870"/>
                <a:gd name="connsiteY3" fmla="*/ 2195247 h 2195247"/>
                <a:gd name="connsiteX4" fmla="*/ 251001 w 1028870"/>
                <a:gd name="connsiteY4" fmla="*/ 189336 h 2195247"/>
                <a:gd name="connsiteX0" fmla="*/ 0 w 1038054"/>
                <a:gd name="connsiteY0" fmla="*/ 0 h 2309942"/>
                <a:gd name="connsiteX1" fmla="*/ 1029444 w 1038054"/>
                <a:gd name="connsiteY1" fmla="*/ 114695 h 2309942"/>
                <a:gd name="connsiteX2" fmla="*/ 1038054 w 1038054"/>
                <a:gd name="connsiteY2" fmla="*/ 2309942 h 2309942"/>
                <a:gd name="connsiteX3" fmla="*/ 9184 w 1038054"/>
                <a:gd name="connsiteY3" fmla="*/ 2309942 h 2309942"/>
                <a:gd name="connsiteX4" fmla="*/ 0 w 1038054"/>
                <a:gd name="connsiteY4" fmla="*/ 0 h 2309942"/>
                <a:gd name="connsiteX0" fmla="*/ 1104 w 1039158"/>
                <a:gd name="connsiteY0" fmla="*/ 0 h 3112082"/>
                <a:gd name="connsiteX1" fmla="*/ 1030548 w 1039158"/>
                <a:gd name="connsiteY1" fmla="*/ 114695 h 3112082"/>
                <a:gd name="connsiteX2" fmla="*/ 1039158 w 1039158"/>
                <a:gd name="connsiteY2" fmla="*/ 2309942 h 3112082"/>
                <a:gd name="connsiteX3" fmla="*/ 855 w 1039158"/>
                <a:gd name="connsiteY3" fmla="*/ 3112082 h 3112082"/>
                <a:gd name="connsiteX4" fmla="*/ 1104 w 1039158"/>
                <a:gd name="connsiteY4" fmla="*/ 0 h 3112082"/>
                <a:gd name="connsiteX0" fmla="*/ 1104 w 1030548"/>
                <a:gd name="connsiteY0" fmla="*/ 0 h 3112082"/>
                <a:gd name="connsiteX1" fmla="*/ 1030548 w 1030548"/>
                <a:gd name="connsiteY1" fmla="*/ 114695 h 3112082"/>
                <a:gd name="connsiteX2" fmla="*/ 1004594 w 1030548"/>
                <a:gd name="connsiteY2" fmla="*/ 2200163 h 3112082"/>
                <a:gd name="connsiteX3" fmla="*/ 855 w 1030548"/>
                <a:gd name="connsiteY3" fmla="*/ 3112082 h 3112082"/>
                <a:gd name="connsiteX4" fmla="*/ 1104 w 1030548"/>
                <a:gd name="connsiteY4" fmla="*/ 0 h 3112082"/>
                <a:gd name="connsiteX0" fmla="*/ 1104 w 1039307"/>
                <a:gd name="connsiteY0" fmla="*/ 0 h 3112082"/>
                <a:gd name="connsiteX1" fmla="*/ 1030548 w 1039307"/>
                <a:gd name="connsiteY1" fmla="*/ 114695 h 3112082"/>
                <a:gd name="connsiteX2" fmla="*/ 1039307 w 1039307"/>
                <a:gd name="connsiteY2" fmla="*/ 2181796 h 3112082"/>
                <a:gd name="connsiteX3" fmla="*/ 855 w 1039307"/>
                <a:gd name="connsiteY3" fmla="*/ 3112082 h 3112082"/>
                <a:gd name="connsiteX4" fmla="*/ 1104 w 1039307"/>
                <a:gd name="connsiteY4" fmla="*/ 0 h 3112082"/>
                <a:gd name="connsiteX0" fmla="*/ 212739 w 1038484"/>
                <a:gd name="connsiteY0" fmla="*/ 136181 h 2997387"/>
                <a:gd name="connsiteX1" fmla="*/ 1029725 w 1038484"/>
                <a:gd name="connsiteY1" fmla="*/ 0 h 2997387"/>
                <a:gd name="connsiteX2" fmla="*/ 1038484 w 1038484"/>
                <a:gd name="connsiteY2" fmla="*/ 2067101 h 2997387"/>
                <a:gd name="connsiteX3" fmla="*/ 32 w 1038484"/>
                <a:gd name="connsiteY3" fmla="*/ 2997387 h 2997387"/>
                <a:gd name="connsiteX4" fmla="*/ 212739 w 1038484"/>
                <a:gd name="connsiteY4" fmla="*/ 136181 h 2997387"/>
                <a:gd name="connsiteX0" fmla="*/ 10542 w 1038837"/>
                <a:gd name="connsiteY0" fmla="*/ 0 h 3108177"/>
                <a:gd name="connsiteX1" fmla="*/ 1030078 w 1038837"/>
                <a:gd name="connsiteY1" fmla="*/ 110790 h 3108177"/>
                <a:gd name="connsiteX2" fmla="*/ 1038837 w 1038837"/>
                <a:gd name="connsiteY2" fmla="*/ 2177891 h 3108177"/>
                <a:gd name="connsiteX3" fmla="*/ 385 w 1038837"/>
                <a:gd name="connsiteY3" fmla="*/ 3108177 h 3108177"/>
                <a:gd name="connsiteX4" fmla="*/ 10542 w 1038837"/>
                <a:gd name="connsiteY4" fmla="*/ 0 h 3108177"/>
                <a:gd name="connsiteX0" fmla="*/ 103794 w 1038515"/>
                <a:gd name="connsiteY0" fmla="*/ 0 h 3008713"/>
                <a:gd name="connsiteX1" fmla="*/ 1029756 w 1038515"/>
                <a:gd name="connsiteY1" fmla="*/ 11326 h 3008713"/>
                <a:gd name="connsiteX2" fmla="*/ 1038515 w 1038515"/>
                <a:gd name="connsiteY2" fmla="*/ 2078427 h 3008713"/>
                <a:gd name="connsiteX3" fmla="*/ 63 w 1038515"/>
                <a:gd name="connsiteY3" fmla="*/ 3008713 h 3008713"/>
                <a:gd name="connsiteX4" fmla="*/ 103794 w 1038515"/>
                <a:gd name="connsiteY4" fmla="*/ 0 h 3008713"/>
                <a:gd name="connsiteX0" fmla="*/ 1955 w 1039217"/>
                <a:gd name="connsiteY0" fmla="*/ 0 h 3108659"/>
                <a:gd name="connsiteX1" fmla="*/ 1030458 w 1039217"/>
                <a:gd name="connsiteY1" fmla="*/ 111272 h 3108659"/>
                <a:gd name="connsiteX2" fmla="*/ 1039217 w 1039217"/>
                <a:gd name="connsiteY2" fmla="*/ 2178373 h 3108659"/>
                <a:gd name="connsiteX3" fmla="*/ 765 w 1039217"/>
                <a:gd name="connsiteY3" fmla="*/ 3108659 h 3108659"/>
                <a:gd name="connsiteX4" fmla="*/ 1955 w 1039217"/>
                <a:gd name="connsiteY4" fmla="*/ 0 h 3108659"/>
                <a:gd name="connsiteX0" fmla="*/ 6417 w 1043679"/>
                <a:gd name="connsiteY0" fmla="*/ 0 h 3112902"/>
                <a:gd name="connsiteX1" fmla="*/ 1034920 w 1043679"/>
                <a:gd name="connsiteY1" fmla="*/ 111272 h 3112902"/>
                <a:gd name="connsiteX2" fmla="*/ 1043679 w 1043679"/>
                <a:gd name="connsiteY2" fmla="*/ 2178373 h 3112902"/>
                <a:gd name="connsiteX3" fmla="*/ 503 w 1043679"/>
                <a:gd name="connsiteY3" fmla="*/ 3112902 h 3112902"/>
                <a:gd name="connsiteX4" fmla="*/ 6417 w 1043679"/>
                <a:gd name="connsiteY4" fmla="*/ 0 h 3112902"/>
                <a:gd name="connsiteX0" fmla="*/ 6417 w 1043679"/>
                <a:gd name="connsiteY0" fmla="*/ 0 h 3112903"/>
                <a:gd name="connsiteX1" fmla="*/ 1034920 w 1043679"/>
                <a:gd name="connsiteY1" fmla="*/ 111272 h 3112903"/>
                <a:gd name="connsiteX2" fmla="*/ 1043679 w 1043679"/>
                <a:gd name="connsiteY2" fmla="*/ 2178373 h 3112903"/>
                <a:gd name="connsiteX3" fmla="*/ 503 w 1043679"/>
                <a:gd name="connsiteY3" fmla="*/ 3112903 h 3112903"/>
                <a:gd name="connsiteX4" fmla="*/ 6417 w 1043679"/>
                <a:gd name="connsiteY4" fmla="*/ 0 h 3112903"/>
                <a:gd name="connsiteX0" fmla="*/ 6417 w 1041799"/>
                <a:gd name="connsiteY0" fmla="*/ 0 h 3112903"/>
                <a:gd name="connsiteX1" fmla="*/ 1034920 w 1041799"/>
                <a:gd name="connsiteY1" fmla="*/ 111272 h 3112903"/>
                <a:gd name="connsiteX2" fmla="*/ 1041799 w 1041799"/>
                <a:gd name="connsiteY2" fmla="*/ 2171527 h 3112903"/>
                <a:gd name="connsiteX3" fmla="*/ 503 w 1041799"/>
                <a:gd name="connsiteY3" fmla="*/ 3112903 h 3112903"/>
                <a:gd name="connsiteX4" fmla="*/ 6417 w 1041799"/>
                <a:gd name="connsiteY4" fmla="*/ 0 h 3112903"/>
                <a:gd name="connsiteX0" fmla="*/ 12622 w 1048004"/>
                <a:gd name="connsiteY0" fmla="*/ 0 h 3105816"/>
                <a:gd name="connsiteX1" fmla="*/ 1041125 w 1048004"/>
                <a:gd name="connsiteY1" fmla="*/ 111272 h 3105816"/>
                <a:gd name="connsiteX2" fmla="*/ 1048004 w 1048004"/>
                <a:gd name="connsiteY2" fmla="*/ 2171527 h 3105816"/>
                <a:gd name="connsiteX3" fmla="*/ 344 w 1048004"/>
                <a:gd name="connsiteY3" fmla="*/ 3105816 h 3105816"/>
                <a:gd name="connsiteX4" fmla="*/ 12622 w 1048004"/>
                <a:gd name="connsiteY4" fmla="*/ 0 h 3105816"/>
                <a:gd name="connsiteX0" fmla="*/ 11417 w 1046799"/>
                <a:gd name="connsiteY0" fmla="*/ 0 h 3114315"/>
                <a:gd name="connsiteX1" fmla="*/ 1039920 w 1046799"/>
                <a:gd name="connsiteY1" fmla="*/ 111272 h 3114315"/>
                <a:gd name="connsiteX2" fmla="*/ 1046799 w 1046799"/>
                <a:gd name="connsiteY2" fmla="*/ 2171527 h 3114315"/>
                <a:gd name="connsiteX3" fmla="*/ 368 w 1046799"/>
                <a:gd name="connsiteY3" fmla="*/ 3114315 h 3114315"/>
                <a:gd name="connsiteX4" fmla="*/ 11417 w 1046799"/>
                <a:gd name="connsiteY4" fmla="*/ 0 h 3114315"/>
                <a:gd name="connsiteX0" fmla="*/ 11417 w 1051571"/>
                <a:gd name="connsiteY0" fmla="*/ 0 h 3114315"/>
                <a:gd name="connsiteX1" fmla="*/ 1039920 w 1051571"/>
                <a:gd name="connsiteY1" fmla="*/ 111272 h 3114315"/>
                <a:gd name="connsiteX2" fmla="*/ 1051571 w 1051571"/>
                <a:gd name="connsiteY2" fmla="*/ 2176842 h 3114315"/>
                <a:gd name="connsiteX3" fmla="*/ 368 w 1051571"/>
                <a:gd name="connsiteY3" fmla="*/ 3114315 h 3114315"/>
                <a:gd name="connsiteX4" fmla="*/ 11417 w 1051571"/>
                <a:gd name="connsiteY4" fmla="*/ 0 h 3114315"/>
                <a:gd name="connsiteX0" fmla="*/ 11417 w 1048390"/>
                <a:gd name="connsiteY0" fmla="*/ 0 h 3114315"/>
                <a:gd name="connsiteX1" fmla="*/ 1039920 w 1048390"/>
                <a:gd name="connsiteY1" fmla="*/ 111272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48390"/>
                <a:gd name="connsiteY0" fmla="*/ 0 h 3114315"/>
                <a:gd name="connsiteX1" fmla="*/ 969553 w 1048390"/>
                <a:gd name="connsiteY1" fmla="*/ 196855 h 3114315"/>
                <a:gd name="connsiteX2" fmla="*/ 1048390 w 1048390"/>
                <a:gd name="connsiteY2" fmla="*/ 2173299 h 3114315"/>
                <a:gd name="connsiteX3" fmla="*/ 368 w 1048390"/>
                <a:gd name="connsiteY3" fmla="*/ 3114315 h 3114315"/>
                <a:gd name="connsiteX4" fmla="*/ 11417 w 1048390"/>
                <a:gd name="connsiteY4" fmla="*/ 0 h 3114315"/>
                <a:gd name="connsiteX0" fmla="*/ 11417 w 1057133"/>
                <a:gd name="connsiteY0" fmla="*/ 0 h 3114315"/>
                <a:gd name="connsiteX1" fmla="*/ 1056735 w 1057133"/>
                <a:gd name="connsiteY1" fmla="*/ 112176 h 3114315"/>
                <a:gd name="connsiteX2" fmla="*/ 1048390 w 1057133"/>
                <a:gd name="connsiteY2" fmla="*/ 2173299 h 3114315"/>
                <a:gd name="connsiteX3" fmla="*/ 368 w 1057133"/>
                <a:gd name="connsiteY3" fmla="*/ 3114315 h 3114315"/>
                <a:gd name="connsiteX4" fmla="*/ 11417 w 1057133"/>
                <a:gd name="connsiteY4" fmla="*/ 0 h 311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133" h="3114315">
                  <a:moveTo>
                    <a:pt x="11417" y="0"/>
                  </a:moveTo>
                  <a:lnTo>
                    <a:pt x="1056735" y="112176"/>
                  </a:lnTo>
                  <a:cubicBezTo>
                    <a:pt x="1059655" y="801210"/>
                    <a:pt x="1045470" y="1484265"/>
                    <a:pt x="1048390" y="2173299"/>
                  </a:cubicBezTo>
                  <a:lnTo>
                    <a:pt x="368" y="3114315"/>
                  </a:lnTo>
                  <a:cubicBezTo>
                    <a:pt x="-2693" y="2344334"/>
                    <a:pt x="14478" y="769981"/>
                    <a:pt x="1141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7"/>
            <p:cNvSpPr/>
            <p:nvPr/>
          </p:nvSpPr>
          <p:spPr>
            <a:xfrm>
              <a:off x="7094538" y="2"/>
              <a:ext cx="2811462" cy="2545556"/>
            </a:xfrm>
            <a:custGeom>
              <a:avLst/>
              <a:gdLst>
                <a:gd name="connsiteX0" fmla="*/ 0 w 2776537"/>
                <a:gd name="connsiteY0" fmla="*/ 0 h 1762125"/>
                <a:gd name="connsiteX1" fmla="*/ 2776537 w 2776537"/>
                <a:gd name="connsiteY1" fmla="*/ 0 h 1762125"/>
                <a:gd name="connsiteX2" fmla="*/ 2776537 w 2776537"/>
                <a:gd name="connsiteY2" fmla="*/ 1762125 h 1762125"/>
                <a:gd name="connsiteX3" fmla="*/ 0 w 2776537"/>
                <a:gd name="connsiteY3" fmla="*/ 1762125 h 1762125"/>
                <a:gd name="connsiteX4" fmla="*/ 0 w 2776537"/>
                <a:gd name="connsiteY4" fmla="*/ 0 h 1762125"/>
                <a:gd name="connsiteX0" fmla="*/ 0 w 2786062"/>
                <a:gd name="connsiteY0" fmla="*/ 0 h 1762125"/>
                <a:gd name="connsiteX1" fmla="*/ 2776537 w 2786062"/>
                <a:gd name="connsiteY1" fmla="*/ 0 h 1762125"/>
                <a:gd name="connsiteX2" fmla="*/ 2786062 w 2786062"/>
                <a:gd name="connsiteY2" fmla="*/ 476250 h 1762125"/>
                <a:gd name="connsiteX3" fmla="*/ 0 w 2786062"/>
                <a:gd name="connsiteY3" fmla="*/ 1762125 h 1762125"/>
                <a:gd name="connsiteX4" fmla="*/ 0 w 2786062"/>
                <a:gd name="connsiteY4" fmla="*/ 0 h 1762125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4762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786062"/>
                <a:gd name="connsiteY0" fmla="*/ 0 h 2533650"/>
                <a:gd name="connsiteX1" fmla="*/ 2776537 w 2786062"/>
                <a:gd name="connsiteY1" fmla="*/ 0 h 2533650"/>
                <a:gd name="connsiteX2" fmla="*/ 2786062 w 2786062"/>
                <a:gd name="connsiteY2" fmla="*/ 361950 h 2533650"/>
                <a:gd name="connsiteX3" fmla="*/ 652462 w 2786062"/>
                <a:gd name="connsiteY3" fmla="*/ 2533650 h 2533650"/>
                <a:gd name="connsiteX4" fmla="*/ 0 w 2786062"/>
                <a:gd name="connsiteY4" fmla="*/ 0 h 2533650"/>
                <a:gd name="connsiteX0" fmla="*/ 0 w 2805112"/>
                <a:gd name="connsiteY0" fmla="*/ 1766887 h 2533650"/>
                <a:gd name="connsiteX1" fmla="*/ 2795587 w 2805112"/>
                <a:gd name="connsiteY1" fmla="*/ 0 h 2533650"/>
                <a:gd name="connsiteX2" fmla="*/ 2805112 w 2805112"/>
                <a:gd name="connsiteY2" fmla="*/ 361950 h 2533650"/>
                <a:gd name="connsiteX3" fmla="*/ 671512 w 2805112"/>
                <a:gd name="connsiteY3" fmla="*/ 2533650 h 2533650"/>
                <a:gd name="connsiteX4" fmla="*/ 0 w 2805112"/>
                <a:gd name="connsiteY4" fmla="*/ 1766887 h 2533650"/>
                <a:gd name="connsiteX0" fmla="*/ 0 w 2805112"/>
                <a:gd name="connsiteY0" fmla="*/ 1766887 h 2533650"/>
                <a:gd name="connsiteX1" fmla="*/ 2081211 w 2805112"/>
                <a:gd name="connsiteY1" fmla="*/ 461962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6 w 2805112"/>
                <a:gd name="connsiteY1" fmla="*/ 14287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647824 w 2805112"/>
                <a:gd name="connsiteY1" fmla="*/ 9524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805112"/>
                <a:gd name="connsiteY0" fmla="*/ 1766887 h 2533650"/>
                <a:gd name="connsiteX1" fmla="*/ 1576387 w 2805112"/>
                <a:gd name="connsiteY1" fmla="*/ 4761 h 2533650"/>
                <a:gd name="connsiteX2" fmla="*/ 2795587 w 2805112"/>
                <a:gd name="connsiteY2" fmla="*/ 0 h 2533650"/>
                <a:gd name="connsiteX3" fmla="*/ 2805112 w 2805112"/>
                <a:gd name="connsiteY3" fmla="*/ 361950 h 2533650"/>
                <a:gd name="connsiteX4" fmla="*/ 671512 w 2805112"/>
                <a:gd name="connsiteY4" fmla="*/ 2533650 h 2533650"/>
                <a:gd name="connsiteX5" fmla="*/ 0 w 2805112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790825 w 2795587"/>
                <a:gd name="connsiteY3" fmla="*/ 37623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5587"/>
                <a:gd name="connsiteY0" fmla="*/ 1766887 h 2533650"/>
                <a:gd name="connsiteX1" fmla="*/ 1576387 w 2795587"/>
                <a:gd name="connsiteY1" fmla="*/ 4761 h 2533650"/>
                <a:gd name="connsiteX2" fmla="*/ 2795587 w 2795587"/>
                <a:gd name="connsiteY2" fmla="*/ 0 h 2533650"/>
                <a:gd name="connsiteX3" fmla="*/ 2581275 w 2795587"/>
                <a:gd name="connsiteY3" fmla="*/ 230187 h 2533650"/>
                <a:gd name="connsiteX4" fmla="*/ 671512 w 2795587"/>
                <a:gd name="connsiteY4" fmla="*/ 2533650 h 2533650"/>
                <a:gd name="connsiteX5" fmla="*/ 0 w 2795587"/>
                <a:gd name="connsiteY5" fmla="*/ 1766887 h 2533650"/>
                <a:gd name="connsiteX0" fmla="*/ 0 w 2797503"/>
                <a:gd name="connsiteY0" fmla="*/ 1766887 h 2533650"/>
                <a:gd name="connsiteX1" fmla="*/ 1576387 w 2797503"/>
                <a:gd name="connsiteY1" fmla="*/ 476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919287 w 2797503"/>
                <a:gd name="connsiteY1" fmla="*/ 619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797503"/>
                <a:gd name="connsiteY0" fmla="*/ 1766887 h 2533650"/>
                <a:gd name="connsiteX1" fmla="*/ 1582737 w 2797503"/>
                <a:gd name="connsiteY1" fmla="*/ 11111 h 2533650"/>
                <a:gd name="connsiteX2" fmla="*/ 2795587 w 2797503"/>
                <a:gd name="connsiteY2" fmla="*/ 0 h 2533650"/>
                <a:gd name="connsiteX3" fmla="*/ 2797175 w 2797503"/>
                <a:gd name="connsiteY3" fmla="*/ 185737 h 2533650"/>
                <a:gd name="connsiteX4" fmla="*/ 671512 w 2797503"/>
                <a:gd name="connsiteY4" fmla="*/ 2533650 h 2533650"/>
                <a:gd name="connsiteX5" fmla="*/ 0 w 2797503"/>
                <a:gd name="connsiteY5" fmla="*/ 1766887 h 2533650"/>
                <a:gd name="connsiteX0" fmla="*/ 0 w 2810203"/>
                <a:gd name="connsiteY0" fmla="*/ 1728787 h 2533650"/>
                <a:gd name="connsiteX1" fmla="*/ 1595437 w 2810203"/>
                <a:gd name="connsiteY1" fmla="*/ 11111 h 2533650"/>
                <a:gd name="connsiteX2" fmla="*/ 2808287 w 2810203"/>
                <a:gd name="connsiteY2" fmla="*/ 0 h 2533650"/>
                <a:gd name="connsiteX3" fmla="*/ 2809875 w 2810203"/>
                <a:gd name="connsiteY3" fmla="*/ 185737 h 2533650"/>
                <a:gd name="connsiteX4" fmla="*/ 684212 w 2810203"/>
                <a:gd name="connsiteY4" fmla="*/ 2533650 h 2533650"/>
                <a:gd name="connsiteX5" fmla="*/ 0 w 2810203"/>
                <a:gd name="connsiteY5" fmla="*/ 1728787 h 2533650"/>
                <a:gd name="connsiteX0" fmla="*/ 0 w 2803853"/>
                <a:gd name="connsiteY0" fmla="*/ 17922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92287 h 2533650"/>
                <a:gd name="connsiteX0" fmla="*/ 0 w 2803853"/>
                <a:gd name="connsiteY0" fmla="*/ 1766887 h 2533650"/>
                <a:gd name="connsiteX1" fmla="*/ 15890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4623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03853"/>
                <a:gd name="connsiteY0" fmla="*/ 1766887 h 2533650"/>
                <a:gd name="connsiteX1" fmla="*/ 1601787 w 2803853"/>
                <a:gd name="connsiteY1" fmla="*/ 11111 h 2533650"/>
                <a:gd name="connsiteX2" fmla="*/ 2801937 w 2803853"/>
                <a:gd name="connsiteY2" fmla="*/ 0 h 2533650"/>
                <a:gd name="connsiteX3" fmla="*/ 2803525 w 2803853"/>
                <a:gd name="connsiteY3" fmla="*/ 185737 h 2533650"/>
                <a:gd name="connsiteX4" fmla="*/ 677862 w 2803853"/>
                <a:gd name="connsiteY4" fmla="*/ 2533650 h 2533650"/>
                <a:gd name="connsiteX5" fmla="*/ 0 w 2803853"/>
                <a:gd name="connsiteY5" fmla="*/ 1766887 h 2533650"/>
                <a:gd name="connsiteX0" fmla="*/ 0 w 2813378"/>
                <a:gd name="connsiteY0" fmla="*/ 1759744 h 2533650"/>
                <a:gd name="connsiteX1" fmla="*/ 1611312 w 2813378"/>
                <a:gd name="connsiteY1" fmla="*/ 11111 h 2533650"/>
                <a:gd name="connsiteX2" fmla="*/ 2811462 w 2813378"/>
                <a:gd name="connsiteY2" fmla="*/ 0 h 2533650"/>
                <a:gd name="connsiteX3" fmla="*/ 2813050 w 2813378"/>
                <a:gd name="connsiteY3" fmla="*/ 185737 h 2533650"/>
                <a:gd name="connsiteX4" fmla="*/ 687387 w 2813378"/>
                <a:gd name="connsiteY4" fmla="*/ 2533650 h 2533650"/>
                <a:gd name="connsiteX5" fmla="*/ 0 w 2813378"/>
                <a:gd name="connsiteY5" fmla="*/ 1759744 h 2533650"/>
                <a:gd name="connsiteX0" fmla="*/ 0 w 2813378"/>
                <a:gd name="connsiteY0" fmla="*/ 1759744 h 2538413"/>
                <a:gd name="connsiteX1" fmla="*/ 1611312 w 2813378"/>
                <a:gd name="connsiteY1" fmla="*/ 11111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85737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71449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3378"/>
                <a:gd name="connsiteY0" fmla="*/ 1759744 h 2538413"/>
                <a:gd name="connsiteX1" fmla="*/ 1585118 w 2813378"/>
                <a:gd name="connsiteY1" fmla="*/ 3967 h 2538413"/>
                <a:gd name="connsiteX2" fmla="*/ 2811462 w 2813378"/>
                <a:gd name="connsiteY2" fmla="*/ 0 h 2538413"/>
                <a:gd name="connsiteX3" fmla="*/ 2813050 w 2813378"/>
                <a:gd name="connsiteY3" fmla="*/ 192880 h 2538413"/>
                <a:gd name="connsiteX4" fmla="*/ 699293 w 2813378"/>
                <a:gd name="connsiteY4" fmla="*/ 2538413 h 2538413"/>
                <a:gd name="connsiteX5" fmla="*/ 0 w 2813378"/>
                <a:gd name="connsiteY5" fmla="*/ 1759744 h 2538413"/>
                <a:gd name="connsiteX0" fmla="*/ 0 w 2811462"/>
                <a:gd name="connsiteY0" fmla="*/ 1759744 h 2538413"/>
                <a:gd name="connsiteX1" fmla="*/ 1585118 w 2811462"/>
                <a:gd name="connsiteY1" fmla="*/ 3967 h 2538413"/>
                <a:gd name="connsiteX2" fmla="*/ 2811462 w 2811462"/>
                <a:gd name="connsiteY2" fmla="*/ 0 h 2538413"/>
                <a:gd name="connsiteX3" fmla="*/ 2808288 w 2811462"/>
                <a:gd name="connsiteY3" fmla="*/ 202405 h 2538413"/>
                <a:gd name="connsiteX4" fmla="*/ 699293 w 2811462"/>
                <a:gd name="connsiteY4" fmla="*/ 2538413 h 2538413"/>
                <a:gd name="connsiteX5" fmla="*/ 0 w 2811462"/>
                <a:gd name="connsiteY5" fmla="*/ 1759744 h 2538413"/>
                <a:gd name="connsiteX0" fmla="*/ 0 w 2811462"/>
                <a:gd name="connsiteY0" fmla="*/ 1759744 h 2545556"/>
                <a:gd name="connsiteX1" fmla="*/ 1585118 w 2811462"/>
                <a:gd name="connsiteY1" fmla="*/ 3967 h 2545556"/>
                <a:gd name="connsiteX2" fmla="*/ 2811462 w 2811462"/>
                <a:gd name="connsiteY2" fmla="*/ 0 h 2545556"/>
                <a:gd name="connsiteX3" fmla="*/ 2808288 w 2811462"/>
                <a:gd name="connsiteY3" fmla="*/ 202405 h 2545556"/>
                <a:gd name="connsiteX4" fmla="*/ 701674 w 2811462"/>
                <a:gd name="connsiteY4" fmla="*/ 2545556 h 2545556"/>
                <a:gd name="connsiteX5" fmla="*/ 0 w 2811462"/>
                <a:gd name="connsiteY5" fmla="*/ 1759744 h 2545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462" h="2545556">
                  <a:moveTo>
                    <a:pt x="0" y="1759744"/>
                  </a:moveTo>
                  <a:lnTo>
                    <a:pt x="1585118" y="3967"/>
                  </a:lnTo>
                  <a:lnTo>
                    <a:pt x="2811462" y="0"/>
                  </a:lnTo>
                  <a:cubicBezTo>
                    <a:pt x="2809875" y="125412"/>
                    <a:pt x="2809875" y="76993"/>
                    <a:pt x="2808288" y="202405"/>
                  </a:cubicBezTo>
                  <a:lnTo>
                    <a:pt x="701674" y="2545556"/>
                  </a:lnTo>
                  <a:lnTo>
                    <a:pt x="0" y="1759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자유형 11"/>
            <p:cNvSpPr/>
            <p:nvPr/>
          </p:nvSpPr>
          <p:spPr>
            <a:xfrm rot="16200000">
              <a:off x="6964057" y="1904241"/>
              <a:ext cx="4048125" cy="1835761"/>
            </a:xfrm>
            <a:custGeom>
              <a:avLst/>
              <a:gdLst>
                <a:gd name="connsiteX0" fmla="*/ 4048125 w 4048125"/>
                <a:gd name="connsiteY0" fmla="*/ 1831975 h 1835761"/>
                <a:gd name="connsiteX1" fmla="*/ 3008312 w 4048125"/>
                <a:gd name="connsiteY1" fmla="*/ 1830387 h 1835761"/>
                <a:gd name="connsiteX2" fmla="*/ 2366590 w 4048125"/>
                <a:gd name="connsiteY2" fmla="*/ 1829408 h 1835761"/>
                <a:gd name="connsiteX3" fmla="*/ 2014538 w 4048125"/>
                <a:gd name="connsiteY3" fmla="*/ 1507999 h 1835761"/>
                <a:gd name="connsiteX4" fmla="*/ 1679543 w 4048125"/>
                <a:gd name="connsiteY4" fmla="*/ 1830956 h 1835761"/>
                <a:gd name="connsiteX5" fmla="*/ 1117600 w 4048125"/>
                <a:gd name="connsiteY5" fmla="*/ 1835150 h 1835761"/>
                <a:gd name="connsiteX6" fmla="*/ 0 w 4048125"/>
                <a:gd name="connsiteY6" fmla="*/ 1835150 h 1835761"/>
                <a:gd name="connsiteX7" fmla="*/ 2019300 w 4048125"/>
                <a:gd name="connsiteY7" fmla="*/ 0 h 1835761"/>
                <a:gd name="connsiteX8" fmla="*/ 4048125 w 4048125"/>
                <a:gd name="connsiteY8" fmla="*/ 1831975 h 18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8125" h="1835761">
                  <a:moveTo>
                    <a:pt x="4048125" y="1831975"/>
                  </a:moveTo>
                  <a:cubicBezTo>
                    <a:pt x="3704167" y="1830917"/>
                    <a:pt x="3356240" y="1830652"/>
                    <a:pt x="3008312" y="1830387"/>
                  </a:cubicBezTo>
                  <a:lnTo>
                    <a:pt x="2366590" y="1829408"/>
                  </a:lnTo>
                  <a:lnTo>
                    <a:pt x="2014538" y="1507999"/>
                  </a:lnTo>
                  <a:lnTo>
                    <a:pt x="1679543" y="1830956"/>
                  </a:lnTo>
                  <a:lnTo>
                    <a:pt x="1117600" y="1835150"/>
                  </a:lnTo>
                  <a:cubicBezTo>
                    <a:pt x="745067" y="1833033"/>
                    <a:pt x="372533" y="1837267"/>
                    <a:pt x="0" y="1835150"/>
                  </a:cubicBezTo>
                  <a:lnTo>
                    <a:pt x="2019300" y="0"/>
                  </a:lnTo>
                  <a:lnTo>
                    <a:pt x="4048125" y="183197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760" y="4384586"/>
            <a:ext cx="1876240" cy="1152336"/>
          </a:xfrm>
          <a:prstGeom prst="rect">
            <a:avLst/>
          </a:prstGeom>
        </p:spPr>
      </p:pic>
      <p:sp>
        <p:nvSpPr>
          <p:cNvPr id="18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6915796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sp>
        <p:nvSpPr>
          <p:cNvPr id="16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>
                    <a:lumMod val="85000"/>
                  </a:schemeClr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102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주년 발표용 표지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03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52" name="think-cell 슬라이드" r:id="rId5" imgW="532" imgH="530" progId="TCLayout.ActiveDocument.1">
                  <p:embed/>
                </p:oleObj>
              </mc:Choice>
              <mc:Fallback>
                <p:oleObj name="think-cell 슬라이드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/>
          </a:p>
        </p:txBody>
      </p:sp>
      <p:sp>
        <p:nvSpPr>
          <p:cNvPr id="19" name="제목 1"/>
          <p:cNvSpPr>
            <a:spLocks noGrp="1"/>
          </p:cNvSpPr>
          <p:nvPr>
            <p:ph type="title" hasCustomPrompt="1"/>
          </p:nvPr>
        </p:nvSpPr>
        <p:spPr>
          <a:xfrm>
            <a:off x="442133" y="2276475"/>
            <a:ext cx="5398943" cy="956669"/>
          </a:xfrm>
        </p:spPr>
        <p:txBody>
          <a:bodyPr vert="horz" lIns="91440" tIns="45720" rIns="91440" bIns="0" rtlCol="0" anchor="b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lang="ko-KR" altLang="en-US" sz="3200" spc="-50" baseline="0" dirty="0" smtClean="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</a:defRPr>
            </a:lvl1pPr>
          </a:lstStyle>
          <a:p>
            <a:pPr marL="0"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altLang="ko-KR" dirty="0" smtClean="0"/>
              <a:t>DONGKUK SYSYTEMS</a:t>
            </a:r>
            <a:br>
              <a:rPr lang="en-US" altLang="ko-KR" dirty="0" smtClean="0"/>
            </a:br>
            <a:r>
              <a:rPr lang="en-US" altLang="ko-KR" dirty="0" smtClean="0"/>
              <a:t>Basic template</a:t>
            </a:r>
            <a:endParaRPr lang="ko-KR" altLang="en-US" dirty="0" smtClean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552" y="4585073"/>
            <a:ext cx="2291556" cy="1258109"/>
          </a:xfrm>
          <a:prstGeom prst="rect">
            <a:avLst/>
          </a:prstGeom>
        </p:spPr>
      </p:pic>
      <p:sp>
        <p:nvSpPr>
          <p:cNvPr id="10" name="텍스트 개체 틀 2"/>
          <p:cNvSpPr txBox="1">
            <a:spLocks/>
          </p:cNvSpPr>
          <p:nvPr userDrawn="1"/>
        </p:nvSpPr>
        <p:spPr>
          <a:xfrm>
            <a:off x="143436" y="6469098"/>
            <a:ext cx="1682758" cy="248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bg1">
                    <a:lumMod val="8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 smtClean="0">
                <a:latin typeface="+mj-ea"/>
                <a:ea typeface="+mj-ea"/>
              </a:rPr>
              <a:t>1954</a:t>
            </a:r>
            <a:r>
              <a:rPr lang="ko-KR" altLang="en-US" sz="800" smtClean="0">
                <a:latin typeface="+mj-ea"/>
                <a:ea typeface="+mj-ea"/>
              </a:rPr>
              <a:t>년 동국제강 부산 용호동 부지</a:t>
            </a:r>
            <a:endParaRPr lang="ko-KR" altLang="en-US" sz="800" dirty="0">
              <a:latin typeface="+mj-ea"/>
              <a:ea typeface="+mj-ea"/>
            </a:endParaRPr>
          </a:p>
        </p:txBody>
      </p:sp>
      <p:sp>
        <p:nvSpPr>
          <p:cNvPr id="14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2831" y="3673264"/>
            <a:ext cx="5364061" cy="248727"/>
          </a:xfrm>
        </p:spPr>
        <p:txBody>
          <a:bodyPr>
            <a:noAutofit/>
          </a:bodyPr>
          <a:lstStyle>
            <a:lvl1pPr marL="0" indent="0">
              <a:buNone/>
              <a:defRPr sz="1400" spc="-20" baseline="0">
                <a:solidFill>
                  <a:schemeClr val="bg1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소속을 입력하세요</a:t>
            </a:r>
            <a:r>
              <a:rPr lang="en-US" altLang="ko-KR" dirty="0" smtClean="0"/>
              <a:t>Ⅰ2024.00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 trans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434" y="6473266"/>
            <a:ext cx="1391132" cy="20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93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1434" userDrawn="1">
          <p15:clr>
            <a:srgbClr val="FBAE40"/>
          </p15:clr>
        </p15:guide>
        <p15:guide id="4" pos="26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①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55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35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텍스트 개체 틀 26"/>
          <p:cNvSpPr>
            <a:spLocks noGrp="1"/>
          </p:cNvSpPr>
          <p:nvPr>
            <p:ph type="body" sz="quarter" idx="17" hasCustomPrompt="1"/>
          </p:nvPr>
        </p:nvSpPr>
        <p:spPr>
          <a:xfrm>
            <a:off x="857551" y="2276475"/>
            <a:ext cx="632205" cy="3242876"/>
          </a:xfrm>
        </p:spPr>
        <p:txBody>
          <a:bodyPr>
            <a:noAutofit/>
          </a:bodyPr>
          <a:lstStyle>
            <a:lvl1pPr marL="0" indent="0" algn="r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</a:t>
            </a:r>
          </a:p>
          <a:p>
            <a:pPr lvl="0"/>
            <a:r>
              <a:rPr lang="en-US" altLang="ko-KR" dirty="0" smtClean="0"/>
              <a:t>02</a:t>
            </a:r>
          </a:p>
          <a:p>
            <a:pPr lvl="0"/>
            <a:r>
              <a:rPr lang="en-US" altLang="ko-KR" dirty="0" smtClean="0"/>
              <a:t>03</a:t>
            </a:r>
          </a:p>
          <a:p>
            <a:pPr lvl="0"/>
            <a:r>
              <a:rPr lang="en-US" altLang="ko-KR" dirty="0" smtClean="0"/>
              <a:t>04</a:t>
            </a:r>
          </a:p>
          <a:p>
            <a:pPr lvl="0"/>
            <a:r>
              <a:rPr lang="en-US" altLang="ko-KR" dirty="0" smtClean="0"/>
              <a:t>05</a:t>
            </a:r>
          </a:p>
        </p:txBody>
      </p:sp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250" y="0"/>
            <a:ext cx="2190750" cy="6858000"/>
          </a:xfrm>
          <a:prstGeom prst="rect">
            <a:avLst/>
          </a:prstGeom>
        </p:spPr>
      </p:pic>
      <p:sp>
        <p:nvSpPr>
          <p:cNvPr id="2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sp>
        <p:nvSpPr>
          <p:cNvPr id="17" name="텍스트 개체 틀 26"/>
          <p:cNvSpPr>
            <a:spLocks noGrp="1"/>
          </p:cNvSpPr>
          <p:nvPr>
            <p:ph type="body" sz="quarter" idx="14" hasCustomPrompt="1"/>
          </p:nvPr>
        </p:nvSpPr>
        <p:spPr>
          <a:xfrm>
            <a:off x="6772319" y="2284710"/>
            <a:ext cx="938297" cy="3127547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Font typeface="+mj-lt"/>
              <a:buNone/>
              <a:defRPr sz="1600" baseline="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r>
              <a:rPr lang="en-US" altLang="ko-KR" dirty="0" smtClean="0"/>
              <a:t>01 – 05</a:t>
            </a:r>
          </a:p>
          <a:p>
            <a:pPr lvl="0"/>
            <a:endParaRPr lang="ko-KR" altLang="en-US" dirty="0"/>
          </a:p>
        </p:txBody>
      </p:sp>
      <p:sp>
        <p:nvSpPr>
          <p:cNvPr id="20" name="텍스트 개체 틀 26"/>
          <p:cNvSpPr>
            <a:spLocks noGrp="1"/>
          </p:cNvSpPr>
          <p:nvPr>
            <p:ph type="body" sz="quarter" idx="13" hasCustomPrompt="1"/>
          </p:nvPr>
        </p:nvSpPr>
        <p:spPr>
          <a:xfrm>
            <a:off x="1505513" y="2276475"/>
            <a:ext cx="3447487" cy="3242876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본고딕 Medium" panose="020B0600000000000000" pitchFamily="34" charset="-127"/>
                <a:ea typeface="본고딕 Medium" panose="020B0600000000000000" pitchFamily="34" charset="-127"/>
              </a:defRPr>
            </a:lvl1pPr>
          </a:lstStyle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텍스트를 입력하세요</a:t>
            </a:r>
            <a:endParaRPr lang="ko-KR" altLang="en-US" dirty="0"/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9886"/>
            <a:ext cx="1215734" cy="1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9873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35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  <p15:guide id="11" orient="horz" pos="1434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② 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9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3200" b="0" i="0" baseline="0" dirty="0">
              <a:latin typeface="본고딕 Bold" panose="020B0800000000000000" pitchFamily="34" charset="-127"/>
              <a:ea typeface="본고딕 Bold" panose="020B0800000000000000" pitchFamily="34" charset="-127"/>
              <a:cs typeface="+mj-cs"/>
              <a:sym typeface="본고딕 Bold" panose="020B0800000000000000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308" y="2454795"/>
            <a:ext cx="2361692" cy="3264383"/>
          </a:xfrm>
          <a:prstGeom prst="rect">
            <a:avLst/>
          </a:prstGeom>
        </p:spPr>
      </p:pic>
      <p:sp>
        <p:nvSpPr>
          <p:cNvPr id="31" name="제목 1"/>
          <p:cNvSpPr txBox="1">
            <a:spLocks/>
          </p:cNvSpPr>
          <p:nvPr userDrawn="1"/>
        </p:nvSpPr>
        <p:spPr>
          <a:xfrm>
            <a:off x="892948" y="1683187"/>
            <a:ext cx="3341001" cy="329059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marL="0" marR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kern="1200" spc="-50" baseline="0">
                <a:solidFill>
                  <a:schemeClr val="tx2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dirty="0" smtClean="0">
                <a:solidFill>
                  <a:srgbClr val="002452"/>
                </a:solidFill>
              </a:rPr>
              <a:t>Contents</a:t>
            </a:r>
            <a:endParaRPr lang="ko-KR" altLang="en-US" dirty="0" smtClean="0">
              <a:solidFill>
                <a:srgbClr val="002452"/>
              </a:solidFill>
            </a:endParaRP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23" y="6579886"/>
            <a:ext cx="1215734" cy="18102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2261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  <p15:guide id="3" pos="580" userDrawn="1">
          <p15:clr>
            <a:srgbClr val="F26B43"/>
          </p15:clr>
        </p15:guide>
        <p15:guide id="4" pos="6068">
          <p15:clr>
            <a:srgbClr val="FBAE40"/>
          </p15:clr>
        </p15:guide>
        <p15:guide id="5" orient="horz" pos="4065" userDrawn="1">
          <p15:clr>
            <a:srgbClr val="F26B43"/>
          </p15:clr>
        </p15:guide>
        <p15:guide id="6" orient="horz" pos="1434" userDrawn="1">
          <p15:clr>
            <a:srgbClr val="F26B43"/>
          </p15:clr>
        </p15:guide>
        <p15:guide id="8" orient="horz" pos="4269" userDrawn="1">
          <p15:clr>
            <a:srgbClr val="F26B43"/>
          </p15:clr>
        </p15:guide>
        <p15:guide id="10" pos="1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 (Action Title 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83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5" name="텍스트 개체 틀 3"/>
          <p:cNvSpPr>
            <a:spLocks noGrp="1"/>
          </p:cNvSpPr>
          <p:nvPr>
            <p:ph type="body" sz="quarter" idx="18"/>
          </p:nvPr>
        </p:nvSpPr>
        <p:spPr>
          <a:xfrm>
            <a:off x="270064" y="1431130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sp>
        <p:nvSpPr>
          <p:cNvPr id="16" name="제목 1"/>
          <p:cNvSpPr>
            <a:spLocks noGrp="1"/>
          </p:cNvSpPr>
          <p:nvPr>
            <p:ph type="title" hasCustomPrompt="1"/>
          </p:nvPr>
        </p:nvSpPr>
        <p:spPr>
          <a:xfrm>
            <a:off x="272724" y="576000"/>
            <a:ext cx="9355229" cy="708943"/>
          </a:xfrm>
        </p:spPr>
        <p:txBody>
          <a:bodyPr vert="horz" bIns="0" anchor="t" anchorCtr="0">
            <a:noAutofit/>
          </a:bodyPr>
          <a:lstStyle>
            <a:lvl1pPr>
              <a:lnSpc>
                <a:spcPct val="120000"/>
              </a:lnSpc>
              <a:defRPr sz="1700" spc="-50" baseline="0">
                <a:solidFill>
                  <a:schemeClr val="tx1"/>
                </a:solidFill>
              </a:defRPr>
            </a:lvl1pPr>
          </a:lstStyle>
          <a:p>
            <a:r>
              <a:rPr lang="en-US" altLang="ko-KR" dirty="0" smtClean="0"/>
              <a:t>Actio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7pt 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br>
              <a:rPr lang="en-US" altLang="ko-KR" dirty="0" smtClean="0"/>
            </a:br>
            <a:r>
              <a:rPr lang="ko-KR" altLang="en-US" dirty="0" smtClean="0"/>
              <a:t>최대 </a:t>
            </a:r>
            <a:r>
              <a:rPr lang="ko-KR" altLang="en-US" dirty="0" err="1" smtClean="0"/>
              <a:t>두줄까지</a:t>
            </a:r>
            <a:r>
              <a:rPr lang="ko-KR" altLang="en-US" dirty="0" smtClean="0"/>
              <a:t> 사용 가능하며</a:t>
            </a:r>
            <a:r>
              <a:rPr lang="en-US" altLang="ko-KR" dirty="0" smtClean="0"/>
              <a:t> </a:t>
            </a:r>
            <a:r>
              <a:rPr lang="ko-KR" altLang="en-US" dirty="0" smtClean="0"/>
              <a:t>본문 요약 및 주요 메시지를 </a:t>
            </a:r>
            <a:r>
              <a:rPr lang="ko-KR" altLang="en-US" dirty="0" err="1" smtClean="0"/>
              <a:t>기재해주십시요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974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 userDrawn="1">
          <p15:clr>
            <a:srgbClr val="FBAE40"/>
          </p15:clr>
        </p15:guide>
        <p15:guide id="3" orient="horz" pos="4065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269" userDrawn="1">
          <p15:clr>
            <a:srgbClr val="FBAE40"/>
          </p15:clr>
        </p15:guide>
        <p15:guide id="7" orient="horz" pos="890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지 (Action Title 미사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41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6" name="think-cell 슬라이드" r:id="rId5" imgW="395" imgH="394" progId="TCLayout.ActiveDocument.1">
                  <p:embed/>
                </p:oleObj>
              </mc:Choice>
              <mc:Fallback>
                <p:oleObj name="think-cell 슬라이드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000" b="0" i="0" baseline="0" dirty="0">
              <a:latin typeface="본고딕 Medium" panose="020B0600000000000000" pitchFamily="34" charset="-127"/>
              <a:ea typeface="본고딕 Medium" panose="020B0600000000000000" pitchFamily="34" charset="-127"/>
              <a:cs typeface="+mj-cs"/>
              <a:sym typeface="본고딕 Medium" panose="020B0600000000000000" pitchFamily="34" charset="-127"/>
            </a:endParaRPr>
          </a:p>
        </p:txBody>
      </p:sp>
      <p:sp>
        <p:nvSpPr>
          <p:cNvPr id="17" name="텍스트 개체 틀 12"/>
          <p:cNvSpPr>
            <a:spLocks noGrp="1"/>
          </p:cNvSpPr>
          <p:nvPr>
            <p:ph type="body" sz="quarter" idx="19" hasCustomPrompt="1"/>
          </p:nvPr>
        </p:nvSpPr>
        <p:spPr>
          <a:xfrm>
            <a:off x="272833" y="171278"/>
            <a:ext cx="6172693" cy="369332"/>
          </a:xfrm>
          <a:noFill/>
        </p:spPr>
        <p:txBody>
          <a:bodyPr wrap="square" anchor="ctr" anchorCtr="0">
            <a:spAutoFit/>
          </a:bodyPr>
          <a:lstStyle>
            <a:lvl1pPr marL="0" indent="0">
              <a:buNone/>
              <a:defRPr sz="1900" spc="-20" baseline="0">
                <a:solidFill>
                  <a:schemeClr val="tx2"/>
                </a:solidFill>
                <a:latin typeface="+mj-ea"/>
                <a:ea typeface="+mj-ea"/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altLang="ko-KR" dirty="0" smtClean="0"/>
              <a:t>Main Title</a:t>
            </a:r>
            <a:r>
              <a:rPr lang="ko-KR" altLang="en-US" dirty="0" smtClean="0"/>
              <a:t>은 </a:t>
            </a:r>
            <a:r>
              <a:rPr lang="ko-KR" altLang="en-US" dirty="0" err="1" smtClean="0"/>
              <a:t>본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Medium 19pt</a:t>
            </a:r>
            <a:r>
              <a:rPr lang="ko-KR" altLang="en-US" dirty="0" smtClean="0"/>
              <a:t>입니다</a:t>
            </a:r>
            <a:r>
              <a:rPr lang="en-US" altLang="ko-KR" dirty="0" smtClean="0"/>
              <a:t>.</a:t>
            </a:r>
            <a:endParaRPr lang="ko-KR" altLang="en-US" dirty="0" smtClean="0"/>
          </a:p>
        </p:txBody>
      </p:sp>
      <p:sp>
        <p:nvSpPr>
          <p:cNvPr id="23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ko-KR" altLang="en-US" dirty="0" err="1" smtClean="0"/>
              <a:t>제조술루션실</a:t>
            </a:r>
            <a:endParaRPr lang="ko-KR" altLang="en-US" dirty="0"/>
          </a:p>
        </p:txBody>
      </p:sp>
      <p:cxnSp>
        <p:nvCxnSpPr>
          <p:cNvPr id="13" name="직선 연결선 12"/>
          <p:cNvCxnSpPr/>
          <p:nvPr userDrawn="1"/>
        </p:nvCxnSpPr>
        <p:spPr>
          <a:xfrm>
            <a:off x="270064" y="540000"/>
            <a:ext cx="936288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텍스트 개체 틀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064" y="931201"/>
            <a:ext cx="9360550" cy="877888"/>
          </a:xfrm>
        </p:spPr>
        <p:txBody>
          <a:bodyPr>
            <a:noAutofit/>
          </a:bodyPr>
          <a:lstStyle>
            <a:lvl1pPr marL="266700" indent="-266700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spc="-20" baseline="0">
                <a:latin typeface="본고딕 Medium" pitchFamily="34" charset="-127"/>
                <a:ea typeface="본고딕 Medium" pitchFamily="34" charset="-127"/>
              </a:defRPr>
            </a:lvl1pPr>
            <a:lvl2pPr marL="449263" indent="-18256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tabLst>
                <a:tab pos="182563" algn="l"/>
              </a:tabLst>
              <a:defRPr sz="1400" spc="-20" baseline="0"/>
            </a:lvl2pPr>
            <a:lvl3pPr marL="625475" indent="-176213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spc="-2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altLang="ko-KR" dirty="0" smtClean="0"/>
              <a:t>Action Title </a:t>
            </a:r>
            <a:r>
              <a:rPr lang="ko-KR" altLang="en-US" dirty="0" smtClean="0"/>
              <a:t>미사용 내지양식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</p:txBody>
      </p:sp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89" y="6579886"/>
            <a:ext cx="1215734" cy="181025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64" y="6574035"/>
            <a:ext cx="1134726" cy="20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74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6068">
          <p15:clr>
            <a:srgbClr val="FBAE40"/>
          </p15:clr>
        </p15:guide>
        <p15:guide id="2" pos="172">
          <p15:clr>
            <a:srgbClr val="FBAE40"/>
          </p15:clr>
        </p15:guide>
        <p15:guide id="3" orient="horz" pos="4065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572" userDrawn="1">
          <p15:clr>
            <a:srgbClr val="F26B43"/>
          </p15:clr>
        </p15:guide>
        <p15:guide id="6" orient="horz" pos="4269">
          <p15:clr>
            <a:srgbClr val="FBAE40"/>
          </p15:clr>
        </p15:guide>
        <p15:guide id="7" orient="horz" pos="1207" userDrawn="1">
          <p15:clr>
            <a:srgbClr val="F26B43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9653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7" name="think-cell 슬라이드" r:id="rId15" imgW="381" imgH="381" progId="TCLayout.ActiveDocument.1">
                  <p:embed/>
                </p:oleObj>
              </mc:Choice>
              <mc:Fallback>
                <p:oleObj name="think-cell 슬라이드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en-US" dirty="0"/>
          </a:p>
        </p:txBody>
      </p:sp>
      <p:sp>
        <p:nvSpPr>
          <p:cNvPr id="9" name="슬라이드 번호 개체 틀 18"/>
          <p:cNvSpPr>
            <a:spLocks noGrp="1"/>
          </p:cNvSpPr>
          <p:nvPr>
            <p:ph type="sldNum" sz="quarter" idx="4"/>
          </p:nvPr>
        </p:nvSpPr>
        <p:spPr>
          <a:xfrm>
            <a:off x="9264136" y="6601746"/>
            <a:ext cx="374513" cy="147600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4650854-40C0-43E7-BFE1-FF212316D624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88317" y="6601746"/>
            <a:ext cx="1534561" cy="148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B6B6B6"/>
                </a:solidFill>
              </a:defRPr>
            </a:lvl1pPr>
          </a:lstStyle>
          <a:p>
            <a:r>
              <a:rPr lang="ko-KR" altLang="en-US" dirty="0" smtClean="0"/>
              <a:t>제조솔루션실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361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22" r:id="rId2"/>
    <p:sldLayoutId id="2147483715" r:id="rId3"/>
    <p:sldLayoutId id="2147483717" r:id="rId4"/>
    <p:sldLayoutId id="2147483723" r:id="rId5"/>
    <p:sldLayoutId id="2147483718" r:id="rId6"/>
    <p:sldLayoutId id="2147483720" r:id="rId7"/>
    <p:sldLayoutId id="2147483719" r:id="rId8"/>
    <p:sldLayoutId id="2147483726" r:id="rId9"/>
    <p:sldLayoutId id="2147483724" r:id="rId10"/>
    <p:sldLayoutId id="214748372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1" hangingPunct="1">
        <a:lnSpc>
          <a:spcPct val="12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3.vml"/><Relationship Id="rId2" Type="http://schemas.openxmlformats.org/officeDocument/2006/relationships/tags" Target="../tags/tag22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0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1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4.vml"/><Relationship Id="rId2" Type="http://schemas.openxmlformats.org/officeDocument/2006/relationships/tags" Target="../tags/tag23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5.vml"/><Relationship Id="rId2" Type="http://schemas.openxmlformats.org/officeDocument/2006/relationships/tags" Target="../tags/tag24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9" Type="http://schemas.openxmlformats.org/officeDocument/2006/relationships/image" Target="../media/image21.png"/><Relationship Id="rId10" Type="http://schemas.openxmlformats.org/officeDocument/2006/relationships/image" Target="../media/image22.png"/><Relationship Id="rId11" Type="http://schemas.openxmlformats.org/officeDocument/2006/relationships/image" Target="../media/image23.png"/><Relationship Id="rId12" Type="http://schemas.openxmlformats.org/officeDocument/2006/relationships/image" Target="../media/image24.png"/><Relationship Id="rId13" Type="http://schemas.openxmlformats.org/officeDocument/2006/relationships/image" Target="../media/image25.png"/><Relationship Id="rId14" Type="http://schemas.openxmlformats.org/officeDocument/2006/relationships/image" Target="../media/image26.png"/><Relationship Id="rId15" Type="http://schemas.openxmlformats.org/officeDocument/2006/relationships/image" Target="../media/image27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58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19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t>공조설비 정보관리 시스템_x000B_기본설계서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t>동국시스템즈Ⅰ2025.12.22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152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pPr marL="0" indent="0">
              <a:buNone/>
            </a:pPr>
            <a:r>
              <a:t>6. 화면 설계 - 정비이력조회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2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57" y="1121153"/>
            <a:ext cx="9056216" cy="5263022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28649" y="3632662"/>
            <a:ext cx="8449096" cy="332510"/>
          </a:xfrm>
          <a:prstGeom prst="rect">
            <a:avLst/>
          </a:prstGeom>
          <a:noFill/>
          <a:ln w="28575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528648" y="4107929"/>
            <a:ext cx="8449097" cy="142003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왼쪽으로 구부러진 화살표 10"/>
          <p:cNvSpPr/>
          <p:nvPr/>
        </p:nvSpPr>
        <p:spPr>
          <a:xfrm>
            <a:off x="9027223" y="3798917"/>
            <a:ext cx="473825" cy="847898"/>
          </a:xfrm>
          <a:prstGeom prst="curvedLeftArrow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2" name="모서리가 둥근 사각형 설명선 11"/>
          <p:cNvSpPr/>
          <p:nvPr/>
        </p:nvSpPr>
        <p:spPr>
          <a:xfrm>
            <a:off x="6445526" y="2776451"/>
            <a:ext cx="1829463" cy="450044"/>
          </a:xfrm>
          <a:prstGeom prst="wedgeRoundRectCallout">
            <a:avLst>
              <a:gd name="adj1" fmla="val -73992"/>
              <a:gd name="adj2" fmla="val 161982"/>
              <a:gd name="adj3" fmla="val 16667"/>
            </a:avLst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429241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pPr marL="0" indent="0">
              <a:buNone/>
            </a:pPr>
            <a:r>
              <a:t>6. 화면 설계 - 정비진행관리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625" t="10040" b="960"/>
          <a:stretch/>
        </p:blipFill>
        <p:spPr>
          <a:xfrm>
            <a:off x="387058" y="1244797"/>
            <a:ext cx="9000000" cy="4981861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6256117" y="1419364"/>
            <a:ext cx="776449" cy="38917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8555598" y="2976615"/>
            <a:ext cx="621654" cy="270929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656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2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704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0" name="think-cell 슬라이드" r:id="rId4" imgW="381" imgH="381" progId="TCLayout.ActiveDocument.1">
                  <p:embed/>
                </p:oleObj>
              </mc:Choice>
              <mc:Fallback>
                <p:oleObj name="think-cell 슬라이드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제목 20"/>
          <p:cNvSpPr>
            <a:spLocks noGrp="1"/>
          </p:cNvSpPr>
          <p:nvPr>
            <p:ph type="title"/>
          </p:nvPr>
        </p:nvSpPr>
        <p:spPr>
          <a:xfrm>
            <a:off x="0" y="3212976"/>
            <a:ext cx="9906000" cy="329059"/>
          </a:xfrm>
        </p:spPr>
        <p:txBody>
          <a:bodyPr/>
          <a:lstStyle/>
          <a:p>
            <a:pPr algn="ctr"/>
            <a:endParaRPr lang="ko-KR" altLang="en-US" sz="7200" dirty="0"/>
          </a:p>
        </p:txBody>
      </p:sp>
    </p:spTree>
    <p:extLst>
      <p:ext uri="{BB962C8B-B14F-4D97-AF65-F5344CB8AC3E}">
        <p14:creationId xmlns:p14="http://schemas.microsoft.com/office/powerpoint/2010/main" val="265859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1107917" y="2442366"/>
            <a:ext cx="56327" cy="2484000"/>
            <a:chOff x="1193981" y="2442366"/>
            <a:chExt cx="72000" cy="3228115"/>
          </a:xfrm>
        </p:grpSpPr>
        <p:cxnSp>
          <p:nvCxnSpPr>
            <p:cNvPr id="4" name="직선 연결선 3"/>
            <p:cNvCxnSpPr/>
            <p:nvPr userDrawn="1"/>
          </p:nvCxnSpPr>
          <p:spPr>
            <a:xfrm>
              <a:off x="1214781" y="2442366"/>
              <a:ext cx="13173" cy="316788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타원 4"/>
            <p:cNvSpPr/>
            <p:nvPr userDrawn="1"/>
          </p:nvSpPr>
          <p:spPr>
            <a:xfrm>
              <a:off x="1193981" y="559848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noFill/>
                </a:ln>
                <a:solidFill>
                  <a:schemeClr val="tx2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6" name="타원 5"/>
          <p:cNvSpPr/>
          <p:nvPr/>
        </p:nvSpPr>
        <p:spPr>
          <a:xfrm>
            <a:off x="962167" y="2936648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7" name="텍스트 개체 틀 25"/>
          <p:cNvSpPr txBox="1">
            <a:spLocks/>
          </p:cNvSpPr>
          <p:nvPr/>
        </p:nvSpPr>
        <p:spPr>
          <a:xfrm>
            <a:off x="949795" y="2997926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2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962167" y="2441522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9" name="텍스트 개체 틀 25"/>
          <p:cNvSpPr txBox="1">
            <a:spLocks/>
          </p:cNvSpPr>
          <p:nvPr/>
        </p:nvSpPr>
        <p:spPr>
          <a:xfrm>
            <a:off x="949795" y="250280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1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962167" y="3425425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1" name="텍스트 개체 틀 25"/>
          <p:cNvSpPr txBox="1">
            <a:spLocks/>
          </p:cNvSpPr>
          <p:nvPr/>
        </p:nvSpPr>
        <p:spPr>
          <a:xfrm>
            <a:off x="949795" y="3486703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3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962167" y="3900677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3" name="텍스트 개체 틀 25"/>
          <p:cNvSpPr txBox="1">
            <a:spLocks/>
          </p:cNvSpPr>
          <p:nvPr/>
        </p:nvSpPr>
        <p:spPr>
          <a:xfrm>
            <a:off x="942642" y="3967610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4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5" name="텍스트 개체 틀 25"/>
          <p:cNvSpPr txBox="1">
            <a:spLocks/>
          </p:cNvSpPr>
          <p:nvPr/>
        </p:nvSpPr>
        <p:spPr>
          <a:xfrm>
            <a:off x="949795" y="4422035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6" name="텍스트 개체 틀 26"/>
          <p:cNvSpPr txBox="1">
            <a:spLocks/>
          </p:cNvSpPr>
          <p:nvPr/>
        </p:nvSpPr>
        <p:spPr>
          <a:xfrm>
            <a:off x="1500997" y="2276475"/>
            <a:ext cx="4235019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시스템 구축 범위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시스템 아키텍처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기술 스택 정의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시스템 프로세스 Flow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화면 설계</a:t>
            </a:r>
          </a:p>
        </p:txBody>
      </p:sp>
      <p:sp>
        <p:nvSpPr>
          <p:cNvPr id="17" name="텍스트 개체 틀 26"/>
          <p:cNvSpPr txBox="1">
            <a:spLocks/>
          </p:cNvSpPr>
          <p:nvPr/>
        </p:nvSpPr>
        <p:spPr>
          <a:xfrm>
            <a:off x="6724779" y="2273014"/>
            <a:ext cx="899435" cy="3536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defTabSz="914400" rtl="0" eaLnBrk="1" latinLnBrk="1" hangingPunct="1">
              <a:lnSpc>
                <a:spcPct val="25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0" baseline="0">
                <a:solidFill>
                  <a:schemeClr val="bg1">
                    <a:lumMod val="65000"/>
                  </a:schemeClr>
                </a:solidFill>
                <a:latin typeface="본고딕 Normal" panose="020B0400000000000000" pitchFamily="34" charset="-127"/>
                <a:ea typeface="본고딕 Normal" panose="020B04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03</a:t>
            </a:r>
            <a:endParaRPr lang="en-US" altLang="ko-KR" sz="1600" dirty="0">
              <a:solidFill>
                <a:schemeClr val="tx2"/>
              </a:solidFill>
              <a:latin typeface="본고딕 Medium" panose="020B0600000000000000" pitchFamily="34" charset="-127"/>
              <a:ea typeface="본고딕 Medium" panose="020B0600000000000000" pitchFamily="34" charset="-127"/>
            </a:endParaRP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04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05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06</a:t>
            </a:r>
          </a:p>
          <a:p>
            <a:pPr marL="0" indent="0">
              <a:lnSpc>
                <a:spcPts val="3200"/>
              </a:lnSpc>
              <a:buNone/>
            </a:pPr>
            <a:r>
              <a:rPr sz="1600">
                <a:solidFill>
                  <a:schemeClr val="tx2"/>
                </a:solidFill>
                <a:latin typeface="본고딕 Medium"/>
              </a:rPr>
              <a:t>07 - 11</a:t>
            </a:r>
          </a:p>
        </p:txBody>
      </p:sp>
      <p:sp>
        <p:nvSpPr>
          <p:cNvPr id="20" name="타원 19"/>
          <p:cNvSpPr/>
          <p:nvPr/>
        </p:nvSpPr>
        <p:spPr>
          <a:xfrm>
            <a:off x="973251" y="4377276"/>
            <a:ext cx="357025" cy="357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1" name="텍스트 개체 틀 25"/>
          <p:cNvSpPr txBox="1">
            <a:spLocks/>
          </p:cNvSpPr>
          <p:nvPr/>
        </p:nvSpPr>
        <p:spPr>
          <a:xfrm>
            <a:off x="953726" y="4444209"/>
            <a:ext cx="383703" cy="2619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bg1"/>
                </a:solidFill>
                <a:latin typeface="본고딕 Bold" panose="020B0800000000000000" pitchFamily="34" charset="-127"/>
                <a:ea typeface="본고딕 Bold" panose="020B0800000000000000" pitchFamily="34" charset="-127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>
                <a:latin typeface="+mj-ea"/>
              </a:rPr>
              <a:t>05</a:t>
            </a:r>
            <a:endParaRPr lang="ko-KR" altLang="en-US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591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t>공조설비 정보관리 시스템 구축 범위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 marL="0" indent="0">
              <a:buNone/>
            </a:pPr>
            <a:r>
              <a:t>1. 시스템 구축 범위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화면 구성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b="1" sz="1050">
                <a:solidFill>
                  <a:srgbClr val="C00000"/>
                </a:solidFill>
              </a:rPr>
              <a:t>※ 웹 8개 화면 + 모바일 12개 화면 = 총 20개 화면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모바일 앱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(Flutter)</a:t>
            </a: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웹 어드민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(React)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QR 코드 스캔을 통한 설비 정보 조회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고장신고/작업시작/완료 처리 기능</a:t>
            </a: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시스템 구성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대시보드 및 통계 현황 조회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정비이력조회/진행관리 기능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설비/사용자/코드 관리 기능</a:t>
            </a: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백엔드 API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(Spring Boot)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RESTful API 설계 (JWT 인증)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Tibero DB 연동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카카오톡 알림톡 연동</a:t>
            </a:r>
          </a:p>
        </p:txBody>
      </p:sp>
    </p:spTree>
    <p:extLst>
      <p:ext uri="{BB962C8B-B14F-4D97-AF65-F5344CB8AC3E}">
        <p14:creationId xmlns:p14="http://schemas.microsoft.com/office/powerpoint/2010/main" val="3323096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t>공조설비 정보관리 시스템 전체 아키텍처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 marL="0" indent="0">
              <a:buNone/>
            </a:pPr>
            <a:r>
              <a:t>2. 시스템 아키텍처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아키텍처 패턴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b="1" sz="1050">
                <a:solidFill>
                  <a:srgbClr val="C00000"/>
                </a:solidFill>
              </a:rPr>
              <a:t>※ Clean Architecture (Mobile) + Modular Layered (Backend)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Presentation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Layer</a:t>
            </a: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Business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Layer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Flutter 3.x 모바일 앱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React 18.x 웹 어드민 + TailwindCSS</a:t>
            </a: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시스템 구성도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Spring Boot 3.x + JPA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Jeus 8.x WAS 환경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JWT 기반 인증/인가 처리</a:t>
            </a: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Data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Layer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Tibero 6.x 데이터베이스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Oracle 호환 SQL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JPA Repository 패턴 적용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t>공조설비 정보관리 시스템 기술 스택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 marL="0" indent="0">
              <a:buNone/>
            </a:pPr>
            <a:r>
              <a:t>3. 기술 스택 정의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3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13" name="텍스트 개체 틀 9"/>
          <p:cNvSpPr txBox="1">
            <a:spLocks/>
          </p:cNvSpPr>
          <p:nvPr/>
        </p:nvSpPr>
        <p:spPr>
          <a:xfrm>
            <a:off x="270064" y="3968005"/>
            <a:ext cx="6803741" cy="387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인프라 환경</a:t>
            </a:r>
            <a:endParaRPr lang="ko-KR" altLang="en-US" sz="1400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134906"/>
              </p:ext>
            </p:extLst>
          </p:nvPr>
        </p:nvGraphicFramePr>
        <p:xfrm>
          <a:off x="781380" y="4394448"/>
          <a:ext cx="8482755" cy="110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551"/>
                <a:gridCol w="1696551"/>
                <a:gridCol w="1696551"/>
                <a:gridCol w="1696551"/>
                <a:gridCol w="1696551"/>
              </a:tblGrid>
              <a:tr h="22146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0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사전준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1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2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3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월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3560092" y="5086813"/>
            <a:ext cx="2304000" cy="216000"/>
          </a:xfrm>
          <a:prstGeom prst="chevron">
            <a:avLst>
              <a:gd name="adj" fmla="val 3992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5792670" y="5084813"/>
            <a:ext cx="1404000" cy="216000"/>
          </a:xfrm>
          <a:prstGeom prst="chevron">
            <a:avLst>
              <a:gd name="adj" fmla="val 399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0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129689" y="5084837"/>
            <a:ext cx="432000" cy="216000"/>
          </a:xfrm>
          <a:prstGeom prst="chevron">
            <a:avLst>
              <a:gd name="adj" fmla="val 399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2415396" y="5085132"/>
            <a:ext cx="1217404" cy="216000"/>
          </a:xfrm>
          <a:prstGeom prst="chevron">
            <a:avLst>
              <a:gd name="adj" fmla="val 399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1409516" y="5356350"/>
            <a:ext cx="648000" cy="867874"/>
            <a:chOff x="3603717" y="5185165"/>
            <a:chExt cx="648000" cy="867874"/>
          </a:xfrm>
          <a:solidFill>
            <a:schemeClr val="accent1"/>
          </a:solidFill>
        </p:grpSpPr>
        <p:cxnSp>
          <p:nvCxnSpPr>
            <p:cNvPr id="43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5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81380" y="5078500"/>
            <a:ext cx="1699420" cy="216000"/>
          </a:xfrm>
          <a:prstGeom prst="chevron">
            <a:avLst>
              <a:gd name="adj" fmla="val 399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spc="-20" dirty="0">
              <a:solidFill>
                <a:schemeClr val="bg1"/>
              </a:solidFill>
              <a:latin typeface="+mj-ea"/>
              <a:ea typeface="+mj-ea"/>
              <a:cs typeface="Arial" charset="0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2710851" y="5356350"/>
            <a:ext cx="648000" cy="867874"/>
            <a:chOff x="3603717" y="5185165"/>
            <a:chExt cx="648000" cy="867874"/>
          </a:xfrm>
        </p:grpSpPr>
        <p:cxnSp>
          <p:nvCxnSpPr>
            <p:cNvPr id="47" name="Straight Connector 14">
              <a:extLst>
                <a:ext uri="{FF2B5EF4-FFF2-40B4-BE49-F238E27FC236}">
                  <a16:creationId xmlns:a16="http://schemas.microsoft.com/office/drawing/2014/main" xmlns="" id="{6AB979E7-57CE-49EE-A6A6-9514A84BC2D8}"/>
                </a:ext>
              </a:extLst>
            </p:cNvPr>
            <p:cNvCxnSpPr>
              <a:cxnSpLocks/>
            </p:cNvCxnSpPr>
            <p:nvPr/>
          </p:nvCxnSpPr>
          <p:spPr>
            <a:xfrm>
              <a:off x="3936203" y="5185165"/>
              <a:ext cx="1" cy="360000"/>
            </a:xfrm>
            <a:prstGeom prst="line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13">
              <a:extLst>
                <a:ext uri="{FF2B5EF4-FFF2-40B4-BE49-F238E27FC236}">
                  <a16:creationId xmlns:a16="http://schemas.microsoft.com/office/drawing/2014/main" xmlns="" id="{403ED970-2939-458F-AB5A-82E2255DF512}"/>
                </a:ext>
              </a:extLst>
            </p:cNvPr>
            <p:cNvSpPr/>
            <p:nvPr/>
          </p:nvSpPr>
          <p:spPr>
            <a:xfrm>
              <a:off x="3603717" y="5405039"/>
              <a:ext cx="648000" cy="64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361826" y="5358428"/>
            <a:ext cx="648000" cy="863719"/>
            <a:chOff x="962200" y="5386087"/>
            <a:chExt cx="648000" cy="863719"/>
          </a:xfrm>
        </p:grpSpPr>
        <p:cxnSp>
          <p:nvCxnSpPr>
            <p:cNvPr id="50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rgbClr val="0070C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6159955" y="5358428"/>
            <a:ext cx="648000" cy="863719"/>
            <a:chOff x="974900" y="5386087"/>
            <a:chExt cx="648000" cy="863719"/>
          </a:xfrm>
        </p:grpSpPr>
        <p:cxnSp>
          <p:nvCxnSpPr>
            <p:cNvPr id="53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5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7006716" y="5358428"/>
            <a:ext cx="648000" cy="863719"/>
            <a:chOff x="962200" y="5386087"/>
            <a:chExt cx="648000" cy="863719"/>
          </a:xfrm>
          <a:solidFill>
            <a:srgbClr val="C00000"/>
          </a:solidFill>
        </p:grpSpPr>
        <p:cxnSp>
          <p:nvCxnSpPr>
            <p:cNvPr id="56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62200" y="5601806"/>
              <a:ext cx="648000" cy="64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defRPr/>
              </a:pPr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7" name="Chevron 2">
            <a:extLst>
              <a:ext uri="{FF2B5EF4-FFF2-40B4-BE49-F238E27FC236}">
                <a16:creationId xmlns:a16="http://schemas.microsoft.com/office/drawing/2014/main" xmlns="" id="{8904097D-7762-46FD-A6FC-2FD0929694BD}"/>
              </a:ext>
            </a:extLst>
          </p:cNvPr>
          <p:cNvSpPr/>
          <p:nvPr/>
        </p:nvSpPr>
        <p:spPr>
          <a:xfrm>
            <a:off x="7497823" y="5090258"/>
            <a:ext cx="1764000" cy="216000"/>
          </a:xfrm>
          <a:prstGeom prst="chevron">
            <a:avLst>
              <a:gd name="adj" fmla="val 39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58" name="그룹 57"/>
          <p:cNvGrpSpPr/>
          <p:nvPr/>
        </p:nvGrpSpPr>
        <p:grpSpPr>
          <a:xfrm>
            <a:off x="8192145" y="5358428"/>
            <a:ext cx="648000" cy="863719"/>
            <a:chOff x="974900" y="5386087"/>
            <a:chExt cx="648000" cy="863719"/>
          </a:xfrm>
        </p:grpSpPr>
        <p:cxnSp>
          <p:nvCxnSpPr>
            <p:cNvPr id="59" name="Straight Connector 5">
              <a:extLst>
                <a:ext uri="{FF2B5EF4-FFF2-40B4-BE49-F238E27FC236}">
                  <a16:creationId xmlns:a16="http://schemas.microsoft.com/office/drawing/2014/main" xmlns="" id="{DCA185DD-2E26-47C0-8D1E-159817500E67}"/>
                </a:ext>
              </a:extLst>
            </p:cNvPr>
            <p:cNvCxnSpPr/>
            <p:nvPr/>
          </p:nvCxnSpPr>
          <p:spPr>
            <a:xfrm>
              <a:off x="1288168" y="5386087"/>
              <a:ext cx="0" cy="360000"/>
            </a:xfrm>
            <a:prstGeom prst="line">
              <a:avLst/>
            </a:prstGeom>
            <a:ln w="19050">
              <a:solidFill>
                <a:schemeClr val="accent6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4">
              <a:extLst>
                <a:ext uri="{FF2B5EF4-FFF2-40B4-BE49-F238E27FC236}">
                  <a16:creationId xmlns:a16="http://schemas.microsoft.com/office/drawing/2014/main" xmlns="" id="{950D9A53-0BCF-462D-98CE-05747CC1D744}"/>
                </a:ext>
              </a:extLst>
            </p:cNvPr>
            <p:cNvSpPr/>
            <p:nvPr/>
          </p:nvSpPr>
          <p:spPr>
            <a:xfrm>
              <a:off x="974900" y="5601806"/>
              <a:ext cx="648000" cy="648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altLang="ko-KR" sz="1200" dirty="0" smtClean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176358" y="4152922"/>
            <a:ext cx="3275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b="1" sz="1050">
                <a:solidFill>
                  <a:srgbClr val="C00000"/>
                </a:solidFill>
              </a:rPr>
              <a:t>※ WAS: Jeus 8.x / DB: Tibero 6.x / 인증: JWT Bearer Token</a:t>
            </a:r>
            <a:endParaRPr lang="ko-KR" altLang="en-US" sz="1050" b="1" dirty="0">
              <a:solidFill>
                <a:srgbClr val="C00000"/>
              </a:solidFill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1580140" y="1503434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Mobile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Flutter 3.x</a:t>
            </a:r>
          </a:p>
        </p:txBody>
      </p:sp>
      <p:sp>
        <p:nvSpPr>
          <p:cNvPr id="64" name="타원 63"/>
          <p:cNvSpPr/>
          <p:nvPr/>
        </p:nvSpPr>
        <p:spPr>
          <a:xfrm>
            <a:off x="4340184" y="1505260"/>
            <a:ext cx="1260000" cy="1260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Web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React 18.x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1183964" y="2794074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Dart 언어 + Riverpod 상태관리</a:t>
            </a:r>
            <a:endParaRPr lang="ko-KR" altLang="en-US" sz="1050" kern="0" dirty="0">
              <a:latin typeface="+mj-ea"/>
              <a:ea typeface="+mj-ea"/>
              <a:cs typeface="Arial" pitchFamily="34" charset="0"/>
            </a:endParaRP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Dio HTTP 클라이언트 + SecureStorage</a:t>
            </a:r>
          </a:p>
        </p:txBody>
      </p:sp>
      <p:sp>
        <p:nvSpPr>
          <p:cNvPr id="68" name="텍스트 개체 틀 9"/>
          <p:cNvSpPr txBox="1">
            <a:spLocks/>
          </p:cNvSpPr>
          <p:nvPr/>
        </p:nvSpPr>
        <p:spPr>
          <a:xfrm>
            <a:off x="270064" y="1065640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기술 스택 구성</a:t>
            </a:r>
            <a:endParaRPr lang="ko-KR" altLang="en-US" dirty="0"/>
          </a:p>
        </p:txBody>
      </p:sp>
      <p:sp>
        <p:nvSpPr>
          <p:cNvPr id="69" name="직사각형 68"/>
          <p:cNvSpPr/>
          <p:nvPr/>
        </p:nvSpPr>
        <p:spPr>
          <a:xfrm>
            <a:off x="3964852" y="2801227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latinLnBrk="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TypeScript + TailwindCSS + Vite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TanStack Query + Zustand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shadcn/ui 컴포넌트</a:t>
            </a:r>
          </a:p>
        </p:txBody>
      </p:sp>
      <p:sp>
        <p:nvSpPr>
          <p:cNvPr id="70" name="타원 69"/>
          <p:cNvSpPr/>
          <p:nvPr/>
        </p:nvSpPr>
        <p:spPr>
          <a:xfrm>
            <a:off x="7077324" y="1566686"/>
            <a:ext cx="1188000" cy="1188000"/>
          </a:xfrm>
          <a:prstGeom prst="ellipse">
            <a:avLst/>
          </a:prstGeom>
          <a:noFill/>
          <a:ln w="57150" cap="flat" cmpd="sng" algn="ctr">
            <a:solidFill>
              <a:schemeClr val="tx2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lvl="0" algn="ctr" marL="0" indent="0">
              <a:buNone/>
              <a:defRPr/>
            </a:pPr>
            <a:r>
              <a:rPr sz="1400">
                <a:solidFill>
                  <a:schemeClr val="tx2"/>
                </a:solidFill>
                <a:latin typeface="본고딕 Bold"/>
              </a:rPr>
              <a:t>Backend</a:t>
            </a:r>
            <a:endParaRPr lang="en-US" altLang="ko-KR" sz="1400" spc="-2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chemeClr val="tx2"/>
              </a:solidFill>
              <a:latin typeface="본고딕 Bold" panose="020B0800000000000000" pitchFamily="34" charset="-127"/>
              <a:ea typeface="본고딕 Bold" panose="020B0800000000000000" pitchFamily="34" charset="-127"/>
            </a:endParaRPr>
          </a:p>
          <a:p>
            <a:pPr marL="0" indent="0" algn="ctr">
              <a:buNone/>
            </a:pPr>
            <a:r>
              <a:rPr sz="1400">
                <a:solidFill>
                  <a:schemeClr val="tx2"/>
                </a:solidFill>
                <a:latin typeface="본고딕 Bold"/>
              </a:rPr>
              <a:t>Spring Boot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6707210" y="2791130"/>
            <a:ext cx="2016000" cy="972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tIns="108000" rtlCol="0" anchor="t" anchorCtr="0"/>
          <a:lstStyle/>
          <a:p>
            <a:pPr marL="426720" lvl="1" indent="-106680" algn="l">
              <a:lnSpc>
                <a:spcPts val="1260"/>
              </a:lnSpc>
              <a:buClr>
                <a:schemeClr val="tx2"/>
              </a:buClr>
              <a:buFontTx/>
              <a:defRPr/>
              <a:buChar char="•"/>
            </a:pPr>
            <a:r>
              <a:rPr sz="1050">
                <a:latin typeface="+mj-ea"/>
              </a:rPr>
              <a:t>Java 17 + Spring Boot 3.x</a:t>
            </a:r>
            <a:endParaRPr lang="en-US" altLang="ko-KR" sz="1050" kern="0" dirty="0" smtClean="0">
              <a:latin typeface="+mj-ea"/>
              <a:ea typeface="+mj-ea"/>
              <a:cs typeface="Arial" pitchFamily="34" charset="0"/>
            </a:endParaRPr>
          </a:p>
          <a:p>
            <a:pPr marL="0" indent="0">
              <a:lnSpc>
                <a:spcPts val="1260"/>
              </a:lnSpc>
              <a:buNone/>
            </a:pPr>
            <a:r>
              <a:rPr sz="1050">
                <a:latin typeface="+mj-ea"/>
              </a:rPr>
              <a:t>JPA + Hibernate</a:t>
            </a:r>
          </a:p>
          <a:p>
            <a:pPr lvl="1" marL="426720" indent="-106680" algn="l">
              <a:lnSpc>
                <a:spcPts val="1260"/>
              </a:lnSpc>
              <a:buChar char="•"/>
            </a:pPr>
            <a:r>
              <a:rPr sz="1050">
                <a:latin typeface="+mj-ea"/>
              </a:rPr>
              <a:t>Tibero 6.x + Jeus 8.x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/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704131" y="800241"/>
            <a:ext cx="547364" cy="575206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1389755" y="1373869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67117" y="1403573"/>
            <a:ext cx="98449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4444796" y="810027"/>
            <a:ext cx="422695" cy="630591"/>
            <a:chOff x="4364965" y="1034307"/>
            <a:chExt cx="465826" cy="660817"/>
          </a:xfrm>
        </p:grpSpPr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4364965" y="1086933"/>
              <a:ext cx="46582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/>
              <a:endParaRPr lang="en-US" altLang="ko-KR" sz="900" dirty="0" smtClean="0"/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3995448" y="1498191"/>
            <a:ext cx="123167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>
              <a:latin typeface="+mn-ea"/>
            </a:endParaRP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15860" y="795034"/>
            <a:ext cx="720000" cy="611078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5495957" y="1498232"/>
            <a:ext cx="103578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>
              <a:latin typeface="+mn-ea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781778" y="1509242"/>
            <a:ext cx="1298680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492133" y="2987847"/>
            <a:ext cx="1221736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3453416" y="2316244"/>
            <a:ext cx="383889" cy="630591"/>
            <a:chOff x="4100398" y="4076025"/>
            <a:chExt cx="383889" cy="630591"/>
          </a:xfrm>
        </p:grpSpPr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0398" y="4076025"/>
              <a:ext cx="383889" cy="630591"/>
            </a:xfrm>
            <a:prstGeom prst="rect">
              <a:avLst/>
            </a:prstGeom>
          </p:spPr>
        </p:pic>
        <p:pic>
          <p:nvPicPr>
            <p:cNvPr id="68" name="그림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1256" y="4242252"/>
              <a:ext cx="274091" cy="304538"/>
            </a:xfrm>
            <a:prstGeom prst="rect">
              <a:avLst/>
            </a:prstGeom>
          </p:spPr>
        </p:pic>
      </p:grpSp>
      <p:sp>
        <p:nvSpPr>
          <p:cNvPr id="69" name="TextBox 68"/>
          <p:cNvSpPr txBox="1"/>
          <p:nvPr/>
        </p:nvSpPr>
        <p:spPr>
          <a:xfrm>
            <a:off x="3094567" y="2995340"/>
            <a:ext cx="109862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160885" y="3049966"/>
            <a:ext cx="206010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pic>
        <p:nvPicPr>
          <p:cNvPr id="76" name="그림 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870" y="3964136"/>
            <a:ext cx="483715" cy="515586"/>
          </a:xfrm>
          <a:prstGeom prst="rect">
            <a:avLst/>
          </a:prstGeom>
        </p:spPr>
      </p:pic>
      <p:grpSp>
        <p:nvGrpSpPr>
          <p:cNvPr id="77" name="그룹 76"/>
          <p:cNvGrpSpPr/>
          <p:nvPr/>
        </p:nvGrpSpPr>
        <p:grpSpPr>
          <a:xfrm>
            <a:off x="5200280" y="3950418"/>
            <a:ext cx="752290" cy="618834"/>
            <a:chOff x="5993567" y="1969698"/>
            <a:chExt cx="1271644" cy="977749"/>
          </a:xfrm>
        </p:grpSpPr>
        <p:pic>
          <p:nvPicPr>
            <p:cNvPr id="78" name="그림 7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02955" y="2385191"/>
              <a:ext cx="562256" cy="562256"/>
            </a:xfrm>
            <a:prstGeom prst="rect">
              <a:avLst/>
            </a:prstGeom>
          </p:spPr>
        </p:pic>
        <p:pic>
          <p:nvPicPr>
            <p:cNvPr id="79" name="그림 7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93567" y="1969698"/>
              <a:ext cx="911133" cy="911133"/>
            </a:xfrm>
            <a:prstGeom prst="rect">
              <a:avLst/>
            </a:prstGeom>
          </p:spPr>
        </p:pic>
      </p:grpSp>
      <p:grpSp>
        <p:nvGrpSpPr>
          <p:cNvPr id="80" name="그룹 79"/>
          <p:cNvGrpSpPr/>
          <p:nvPr/>
        </p:nvGrpSpPr>
        <p:grpSpPr>
          <a:xfrm>
            <a:off x="4079828" y="3934437"/>
            <a:ext cx="422695" cy="630591"/>
            <a:chOff x="4364965" y="1034307"/>
            <a:chExt cx="465826" cy="660817"/>
          </a:xfrm>
        </p:grpSpPr>
        <p:pic>
          <p:nvPicPr>
            <p:cNvPr id="81" name="그림 8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/>
              <a:endParaRPr lang="en-US" altLang="ko-KR" sz="900" dirty="0" smtClean="0"/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3820257" y="4613975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>
              <a:latin typeface="+mn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34094" y="4511954"/>
            <a:ext cx="74724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577960" y="453769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060850" y="4606706"/>
            <a:ext cx="1160822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8220126" y="3930422"/>
            <a:ext cx="422695" cy="630591"/>
            <a:chOff x="4364965" y="1034307"/>
            <a:chExt cx="465826" cy="660817"/>
          </a:xfrm>
        </p:grpSpPr>
        <p:pic>
          <p:nvPicPr>
            <p:cNvPr id="88" name="그림 8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227" y="1034307"/>
              <a:ext cx="423060" cy="660817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364965" y="1086933"/>
              <a:ext cx="465826" cy="532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/>
              <a:endParaRPr lang="en-US" altLang="ko-KR" sz="900" dirty="0" smtClean="0"/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7926051" y="4592708"/>
            <a:ext cx="861381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>
              <a:latin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688757" y="4491865"/>
            <a:ext cx="835733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cxnSp>
        <p:nvCxnSpPr>
          <p:cNvPr id="92" name="직선 연결선 91"/>
          <p:cNvCxnSpPr/>
          <p:nvPr/>
        </p:nvCxnSpPr>
        <p:spPr>
          <a:xfrm>
            <a:off x="237626" y="207034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그림 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037481" y="5508307"/>
            <a:ext cx="720000" cy="611078"/>
          </a:xfrm>
          <a:prstGeom prst="rect">
            <a:avLst/>
          </a:prstGeom>
        </p:spPr>
      </p:pic>
      <p:sp>
        <p:nvSpPr>
          <p:cNvPr id="94" name="모서리가 둥근 직사각형 93"/>
          <p:cNvSpPr/>
          <p:nvPr/>
        </p:nvSpPr>
        <p:spPr>
          <a:xfrm>
            <a:off x="104289" y="694412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95" name="모서리가 둥근 직사각형 94"/>
          <p:cNvSpPr/>
          <p:nvPr/>
        </p:nvSpPr>
        <p:spPr>
          <a:xfrm>
            <a:off x="98556" y="2216527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96" name="모서리가 둥근 직사각형 95"/>
          <p:cNvSpPr/>
          <p:nvPr/>
        </p:nvSpPr>
        <p:spPr>
          <a:xfrm>
            <a:off x="111719" y="3682954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97" name="모서리가 둥근 직사각형 96"/>
          <p:cNvSpPr/>
          <p:nvPr/>
        </p:nvSpPr>
        <p:spPr>
          <a:xfrm>
            <a:off x="128741" y="5306671"/>
            <a:ext cx="1127650" cy="3687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cxnSp>
        <p:nvCxnSpPr>
          <p:cNvPr id="98" name="직선 연결선 97"/>
          <p:cNvCxnSpPr/>
          <p:nvPr/>
        </p:nvCxnSpPr>
        <p:spPr>
          <a:xfrm>
            <a:off x="226126" y="3559830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/>
          <p:cNvCxnSpPr/>
          <p:nvPr/>
        </p:nvCxnSpPr>
        <p:spPr>
          <a:xfrm>
            <a:off x="240506" y="5204598"/>
            <a:ext cx="9360000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>
            <a:stCxn id="34" idx="1"/>
            <a:endCxn id="109" idx="1"/>
          </p:cNvCxnSpPr>
          <p:nvPr/>
        </p:nvCxnSpPr>
        <p:spPr>
          <a:xfrm flipV="1">
            <a:off x="2251495" y="1085295"/>
            <a:ext cx="652378" cy="2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110" idx="3"/>
            <a:endCxn id="41" idx="1"/>
          </p:cNvCxnSpPr>
          <p:nvPr/>
        </p:nvCxnSpPr>
        <p:spPr>
          <a:xfrm>
            <a:off x="3777123" y="1101138"/>
            <a:ext cx="667673" cy="1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>
            <a:stCxn id="41" idx="3"/>
            <a:endCxn id="62" idx="3"/>
          </p:cNvCxnSpPr>
          <p:nvPr/>
        </p:nvCxnSpPr>
        <p:spPr>
          <a:xfrm flipV="1">
            <a:off x="4867491" y="1100573"/>
            <a:ext cx="748369" cy="1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그룹 102"/>
          <p:cNvGrpSpPr/>
          <p:nvPr/>
        </p:nvGrpSpPr>
        <p:grpSpPr>
          <a:xfrm>
            <a:off x="8601677" y="1374956"/>
            <a:ext cx="610707" cy="396594"/>
            <a:chOff x="8601677" y="2185846"/>
            <a:chExt cx="610707" cy="396594"/>
          </a:xfrm>
        </p:grpSpPr>
        <p:pic>
          <p:nvPicPr>
            <p:cNvPr id="104" name="그림 10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05" name="그룹 104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06" name="그림 105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07" name="그림 106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108" name="그룹 107"/>
          <p:cNvGrpSpPr/>
          <p:nvPr/>
        </p:nvGrpSpPr>
        <p:grpSpPr>
          <a:xfrm>
            <a:off x="2903873" y="796959"/>
            <a:ext cx="873250" cy="576672"/>
            <a:chOff x="2869369" y="719325"/>
            <a:chExt cx="873250" cy="576672"/>
          </a:xfrm>
        </p:grpSpPr>
        <p:pic>
          <p:nvPicPr>
            <p:cNvPr id="109" name="그림 10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10" name="그림 109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sp>
        <p:nvSpPr>
          <p:cNvPr id="111" name="TextBox 110"/>
          <p:cNvSpPr txBox="1"/>
          <p:nvPr/>
        </p:nvSpPr>
        <p:spPr>
          <a:xfrm>
            <a:off x="8304772" y="1087038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361996" y="17490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cxnSp>
        <p:nvCxnSpPr>
          <p:cNvPr id="113" name="직선 화살표 연결선 112"/>
          <p:cNvCxnSpPr>
            <a:stCxn id="160" idx="3"/>
            <a:endCxn id="67" idx="1"/>
          </p:cNvCxnSpPr>
          <p:nvPr/>
        </p:nvCxnSpPr>
        <p:spPr>
          <a:xfrm>
            <a:off x="2514180" y="2629699"/>
            <a:ext cx="939236" cy="18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502190" y="3207655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6267796" y="2011680"/>
            <a:ext cx="969022" cy="726613"/>
            <a:chOff x="6404868" y="2061599"/>
            <a:chExt cx="900950" cy="650816"/>
          </a:xfrm>
        </p:grpSpPr>
        <p:sp>
          <p:nvSpPr>
            <p:cNvPr id="117" name="폭발 2 116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altLang="ko-KR" sz="900" b="1" dirty="0" smtClean="0"/>
            </a:p>
          </p:txBody>
        </p:sp>
      </p:grpSp>
      <p:pic>
        <p:nvPicPr>
          <p:cNvPr id="119" name="그림 1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257" y="2489038"/>
            <a:ext cx="483715" cy="515586"/>
          </a:xfrm>
          <a:prstGeom prst="rect">
            <a:avLst/>
          </a:prstGeom>
        </p:spPr>
      </p:pic>
      <p:cxnSp>
        <p:nvCxnSpPr>
          <p:cNvPr id="120" name="직선 화살표 연결선 119"/>
          <p:cNvCxnSpPr>
            <a:stCxn id="119" idx="3"/>
            <a:endCxn id="165" idx="1"/>
          </p:cNvCxnSpPr>
          <p:nvPr/>
        </p:nvCxnSpPr>
        <p:spPr>
          <a:xfrm>
            <a:off x="7566972" y="2746831"/>
            <a:ext cx="424704" cy="585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그룹 120"/>
          <p:cNvGrpSpPr/>
          <p:nvPr/>
        </p:nvGrpSpPr>
        <p:grpSpPr>
          <a:xfrm>
            <a:off x="2576892" y="3933490"/>
            <a:ext cx="873250" cy="576672"/>
            <a:chOff x="2869369" y="719325"/>
            <a:chExt cx="873250" cy="576672"/>
          </a:xfrm>
        </p:grpSpPr>
        <p:pic>
          <p:nvPicPr>
            <p:cNvPr id="122" name="그림 1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3" name="그림 122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24" name="직선 화살표 연결선 123"/>
          <p:cNvCxnSpPr>
            <a:stCxn id="76" idx="3"/>
            <a:endCxn id="122" idx="1"/>
          </p:cNvCxnSpPr>
          <p:nvPr/>
        </p:nvCxnSpPr>
        <p:spPr>
          <a:xfrm flipV="1">
            <a:off x="2086585" y="4221826"/>
            <a:ext cx="490307" cy="1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stCxn id="123" idx="3"/>
            <a:endCxn id="82" idx="1"/>
          </p:cNvCxnSpPr>
          <p:nvPr/>
        </p:nvCxnSpPr>
        <p:spPr>
          <a:xfrm>
            <a:off x="3450142" y="4237669"/>
            <a:ext cx="629686" cy="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/>
          <p:cNvCxnSpPr>
            <a:stCxn id="82" idx="3"/>
            <a:endCxn id="79" idx="1"/>
          </p:cNvCxnSpPr>
          <p:nvPr/>
        </p:nvCxnSpPr>
        <p:spPr>
          <a:xfrm>
            <a:off x="4502523" y="4238572"/>
            <a:ext cx="697757" cy="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그룹 126"/>
          <p:cNvGrpSpPr/>
          <p:nvPr/>
        </p:nvGrpSpPr>
        <p:grpSpPr>
          <a:xfrm>
            <a:off x="6675605" y="3930370"/>
            <a:ext cx="873250" cy="576672"/>
            <a:chOff x="2869369" y="719325"/>
            <a:chExt cx="873250" cy="576672"/>
          </a:xfrm>
        </p:grpSpPr>
        <p:pic>
          <p:nvPicPr>
            <p:cNvPr id="128" name="그림 12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9369" y="719325"/>
              <a:ext cx="539016" cy="576672"/>
            </a:xfrm>
            <a:prstGeom prst="rect">
              <a:avLst/>
            </a:prstGeom>
          </p:spPr>
        </p:pic>
        <p:pic>
          <p:nvPicPr>
            <p:cNvPr id="129" name="그림 12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34" r="9431"/>
            <a:stretch/>
          </p:blipFill>
          <p:spPr>
            <a:xfrm>
              <a:off x="3278261" y="793027"/>
              <a:ext cx="464358" cy="460953"/>
            </a:xfrm>
            <a:prstGeom prst="rect">
              <a:avLst/>
            </a:prstGeom>
          </p:spPr>
        </p:pic>
      </p:grpSp>
      <p:cxnSp>
        <p:nvCxnSpPr>
          <p:cNvPr id="130" name="직선 화살표 연결선 129"/>
          <p:cNvCxnSpPr>
            <a:stCxn id="78" idx="0"/>
            <a:endCxn id="128" idx="1"/>
          </p:cNvCxnSpPr>
          <p:nvPr/>
        </p:nvCxnSpPr>
        <p:spPr>
          <a:xfrm>
            <a:off x="5786258" y="4213391"/>
            <a:ext cx="889347" cy="5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" name="그림 1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676" y="3879749"/>
            <a:ext cx="325894" cy="371634"/>
          </a:xfrm>
          <a:prstGeom prst="rect">
            <a:avLst/>
          </a:prstGeom>
        </p:spPr>
      </p:pic>
      <p:cxnSp>
        <p:nvCxnSpPr>
          <p:cNvPr id="132" name="직선 화살표 연결선 131"/>
          <p:cNvCxnSpPr>
            <a:stCxn id="129" idx="3"/>
            <a:endCxn id="89" idx="1"/>
          </p:cNvCxnSpPr>
          <p:nvPr/>
        </p:nvCxnSpPr>
        <p:spPr>
          <a:xfrm>
            <a:off x="7548855" y="4234549"/>
            <a:ext cx="671271" cy="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그룹 132"/>
          <p:cNvGrpSpPr/>
          <p:nvPr/>
        </p:nvGrpSpPr>
        <p:grpSpPr>
          <a:xfrm>
            <a:off x="1553152" y="5525559"/>
            <a:ext cx="907908" cy="576672"/>
            <a:chOff x="1251230" y="5525559"/>
            <a:chExt cx="907908" cy="576672"/>
          </a:xfrm>
        </p:grpSpPr>
        <p:pic>
          <p:nvPicPr>
            <p:cNvPr id="134" name="그림 13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20122" y="5525559"/>
              <a:ext cx="539016" cy="576672"/>
            </a:xfrm>
            <a:prstGeom prst="rect">
              <a:avLst/>
            </a:prstGeom>
          </p:spPr>
        </p:pic>
        <p:pic>
          <p:nvPicPr>
            <p:cNvPr id="135" name="Picture 28" descr="남자 아이콘 - 149,414종의 무료 아이콘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1230" y="5561895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6" name="TextBox 135"/>
          <p:cNvSpPr txBox="1"/>
          <p:nvPr/>
        </p:nvSpPr>
        <p:spPr>
          <a:xfrm>
            <a:off x="1390198" y="6156721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cxnSp>
        <p:nvCxnSpPr>
          <p:cNvPr id="137" name="직선 화살표 연결선 136"/>
          <p:cNvCxnSpPr>
            <a:stCxn id="134" idx="3"/>
            <a:endCxn id="93" idx="3"/>
          </p:cNvCxnSpPr>
          <p:nvPr/>
        </p:nvCxnSpPr>
        <p:spPr>
          <a:xfrm flipV="1">
            <a:off x="2461060" y="5813846"/>
            <a:ext cx="576421" cy="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2846400" y="6166528"/>
            <a:ext cx="1141585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cxnSp>
        <p:nvCxnSpPr>
          <p:cNvPr id="139" name="직선 화살표 연결선 138"/>
          <p:cNvCxnSpPr>
            <a:stCxn id="93" idx="1"/>
            <a:endCxn id="173" idx="1"/>
          </p:cNvCxnSpPr>
          <p:nvPr/>
        </p:nvCxnSpPr>
        <p:spPr>
          <a:xfrm flipV="1">
            <a:off x="3757481" y="5813589"/>
            <a:ext cx="684181" cy="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/>
          <p:cNvSpPr txBox="1"/>
          <p:nvPr/>
        </p:nvSpPr>
        <p:spPr>
          <a:xfrm>
            <a:off x="4182987" y="6196279"/>
            <a:ext cx="1600365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141" name="그룹 140"/>
          <p:cNvGrpSpPr/>
          <p:nvPr/>
        </p:nvGrpSpPr>
        <p:grpSpPr>
          <a:xfrm>
            <a:off x="6863598" y="782500"/>
            <a:ext cx="1003754" cy="639217"/>
            <a:chOff x="6863598" y="782500"/>
            <a:chExt cx="1003754" cy="639217"/>
          </a:xfrm>
        </p:grpSpPr>
        <p:pic>
          <p:nvPicPr>
            <p:cNvPr id="142" name="그림 14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3598" y="782500"/>
              <a:ext cx="383889" cy="630591"/>
            </a:xfrm>
            <a:prstGeom prst="rect">
              <a:avLst/>
            </a:prstGeom>
          </p:spPr>
        </p:pic>
        <p:pic>
          <p:nvPicPr>
            <p:cNvPr id="143" name="그림 14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51786" y="791126"/>
              <a:ext cx="615566" cy="630591"/>
            </a:xfrm>
            <a:prstGeom prst="rect">
              <a:avLst/>
            </a:prstGeom>
          </p:spPr>
        </p:pic>
        <p:sp>
          <p:nvSpPr>
            <p:cNvPr id="144" name="모서리가 둥근 직사각형 143"/>
            <p:cNvSpPr/>
            <p:nvPr/>
          </p:nvSpPr>
          <p:spPr>
            <a:xfrm>
              <a:off x="7319191" y="849776"/>
              <a:ext cx="479385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dirty="0"/>
            </a:p>
          </p:txBody>
        </p:sp>
        <p:sp>
          <p:nvSpPr>
            <p:cNvPr id="145" name="모서리가 둥근 직사각형 144"/>
            <p:cNvSpPr/>
            <p:nvPr/>
          </p:nvSpPr>
          <p:spPr>
            <a:xfrm>
              <a:off x="7324098" y="1038439"/>
              <a:ext cx="479386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dirty="0"/>
            </a:p>
          </p:txBody>
        </p:sp>
        <p:sp>
          <p:nvSpPr>
            <p:cNvPr id="146" name="모서리가 둥근 직사각형 145"/>
            <p:cNvSpPr/>
            <p:nvPr/>
          </p:nvSpPr>
          <p:spPr>
            <a:xfrm>
              <a:off x="6884988" y="881405"/>
              <a:ext cx="324000" cy="154031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0073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500" dirty="0"/>
            </a:p>
          </p:txBody>
        </p:sp>
        <p:sp>
          <p:nvSpPr>
            <p:cNvPr id="147" name="모서리가 둥근 직사각형 146"/>
            <p:cNvSpPr/>
            <p:nvPr/>
          </p:nvSpPr>
          <p:spPr>
            <a:xfrm>
              <a:off x="6889895" y="1070068"/>
              <a:ext cx="324000" cy="15403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500" dirty="0"/>
            </a:p>
          </p:txBody>
        </p:sp>
      </p:grpSp>
      <p:cxnSp>
        <p:nvCxnSpPr>
          <p:cNvPr id="148" name="직선 화살표 연결선 147"/>
          <p:cNvCxnSpPr>
            <a:stCxn id="144" idx="3"/>
            <a:endCxn id="154" idx="1"/>
          </p:cNvCxnSpPr>
          <p:nvPr/>
        </p:nvCxnSpPr>
        <p:spPr>
          <a:xfrm>
            <a:off x="7798576" y="926792"/>
            <a:ext cx="745595" cy="2219"/>
          </a:xfrm>
          <a:prstGeom prst="straightConnector1">
            <a:avLst/>
          </a:prstGeom>
          <a:ln w="1905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꺾인 연결선 148"/>
          <p:cNvCxnSpPr>
            <a:stCxn id="145" idx="3"/>
          </p:cNvCxnSpPr>
          <p:nvPr/>
        </p:nvCxnSpPr>
        <p:spPr>
          <a:xfrm>
            <a:off x="7803484" y="1115455"/>
            <a:ext cx="755063" cy="500775"/>
          </a:xfrm>
          <a:prstGeom prst="bentConnector3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직선 화살표 연결선 149"/>
          <p:cNvCxnSpPr>
            <a:stCxn id="62" idx="1"/>
            <a:endCxn id="142" idx="1"/>
          </p:cNvCxnSpPr>
          <p:nvPr/>
        </p:nvCxnSpPr>
        <p:spPr>
          <a:xfrm flipV="1">
            <a:off x="6335860" y="1097796"/>
            <a:ext cx="527738" cy="2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그룹 150"/>
          <p:cNvGrpSpPr/>
          <p:nvPr/>
        </p:nvGrpSpPr>
        <p:grpSpPr>
          <a:xfrm>
            <a:off x="8544171" y="712432"/>
            <a:ext cx="585480" cy="382300"/>
            <a:chOff x="8544171" y="755562"/>
            <a:chExt cx="585480" cy="382300"/>
          </a:xfrm>
        </p:grpSpPr>
        <p:grpSp>
          <p:nvGrpSpPr>
            <p:cNvPr id="152" name="그룹 151"/>
            <p:cNvGrpSpPr/>
            <p:nvPr/>
          </p:nvGrpSpPr>
          <p:grpSpPr>
            <a:xfrm>
              <a:off x="8544171" y="846141"/>
              <a:ext cx="252000" cy="252000"/>
              <a:chOff x="6505564" y="4318936"/>
              <a:chExt cx="339866" cy="318139"/>
            </a:xfrm>
          </p:grpSpPr>
          <p:pic>
            <p:nvPicPr>
              <p:cNvPr id="154" name="그림 153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55" name="그림 15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53" name="그림 15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825118" y="755562"/>
              <a:ext cx="304533" cy="382300"/>
            </a:xfrm>
            <a:prstGeom prst="rect">
              <a:avLst/>
            </a:prstGeom>
          </p:spPr>
        </p:pic>
      </p:grpSp>
      <p:grpSp>
        <p:nvGrpSpPr>
          <p:cNvPr id="156" name="그룹 155"/>
          <p:cNvGrpSpPr/>
          <p:nvPr/>
        </p:nvGrpSpPr>
        <p:grpSpPr>
          <a:xfrm>
            <a:off x="1707564" y="2325564"/>
            <a:ext cx="806616" cy="630591"/>
            <a:chOff x="1707564" y="2325564"/>
            <a:chExt cx="806616" cy="630591"/>
          </a:xfrm>
        </p:grpSpPr>
        <p:grpSp>
          <p:nvGrpSpPr>
            <p:cNvPr id="157" name="그룹 156"/>
            <p:cNvGrpSpPr/>
            <p:nvPr/>
          </p:nvGrpSpPr>
          <p:grpSpPr>
            <a:xfrm>
              <a:off x="2091485" y="2325564"/>
              <a:ext cx="422695" cy="630591"/>
              <a:chOff x="4364965" y="1034307"/>
              <a:chExt cx="465826" cy="660817"/>
            </a:xfrm>
          </p:grpSpPr>
          <p:pic>
            <p:nvPicPr>
              <p:cNvPr id="159" name="그림 15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373227" y="1034307"/>
                <a:ext cx="423060" cy="660817"/>
              </a:xfrm>
              <a:prstGeom prst="rect">
                <a:avLst/>
              </a:prstGeom>
            </p:spPr>
          </p:pic>
          <p:sp>
            <p:nvSpPr>
              <p:cNvPr id="160" name="TextBox 159"/>
              <p:cNvSpPr txBox="1"/>
              <p:nvPr/>
            </p:nvSpPr>
            <p:spPr>
              <a:xfrm>
                <a:off x="4364965" y="1086933"/>
                <a:ext cx="465826" cy="5321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:endParaRPr lang="en-US" altLang="ko-KR" sz="900" dirty="0" smtClean="0"/>
              </a:p>
            </p:txBody>
          </p:sp>
        </p:grpSp>
        <p:pic>
          <p:nvPicPr>
            <p:cNvPr id="158" name="그림 1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707564" y="2399927"/>
              <a:ext cx="347353" cy="481162"/>
            </a:xfrm>
            <a:prstGeom prst="rect">
              <a:avLst/>
            </a:prstGeom>
          </p:spPr>
        </p:pic>
      </p:grpSp>
      <p:grpSp>
        <p:nvGrpSpPr>
          <p:cNvPr id="161" name="그룹 160"/>
          <p:cNvGrpSpPr/>
          <p:nvPr/>
        </p:nvGrpSpPr>
        <p:grpSpPr>
          <a:xfrm>
            <a:off x="7991676" y="2368615"/>
            <a:ext cx="1511905" cy="639217"/>
            <a:chOff x="7991676" y="2368615"/>
            <a:chExt cx="1511905" cy="639217"/>
          </a:xfrm>
        </p:grpSpPr>
        <p:grpSp>
          <p:nvGrpSpPr>
            <p:cNvPr id="162" name="그룹 161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65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66" name="그룹 165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67" name="그림 166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68" name="그림 167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63" name="그림 16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64" name="그림 16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grpSp>
        <p:nvGrpSpPr>
          <p:cNvPr id="169" name="그룹 168"/>
          <p:cNvGrpSpPr/>
          <p:nvPr/>
        </p:nvGrpSpPr>
        <p:grpSpPr>
          <a:xfrm>
            <a:off x="4441662" y="5498293"/>
            <a:ext cx="1003754" cy="639217"/>
            <a:chOff x="6186880" y="6138881"/>
            <a:chExt cx="1003754" cy="639217"/>
          </a:xfrm>
        </p:grpSpPr>
        <p:grpSp>
          <p:nvGrpSpPr>
            <p:cNvPr id="170" name="그룹 169"/>
            <p:cNvGrpSpPr/>
            <p:nvPr/>
          </p:nvGrpSpPr>
          <p:grpSpPr>
            <a:xfrm>
              <a:off x="6186880" y="6138881"/>
              <a:ext cx="1003754" cy="639217"/>
              <a:chOff x="6863598" y="782500"/>
              <a:chExt cx="1003754" cy="639217"/>
            </a:xfrm>
          </p:grpSpPr>
          <p:pic>
            <p:nvPicPr>
              <p:cNvPr id="173" name="그림 17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63598" y="782500"/>
                <a:ext cx="383889" cy="630591"/>
              </a:xfrm>
              <a:prstGeom prst="rect">
                <a:avLst/>
              </a:prstGeom>
            </p:spPr>
          </p:pic>
          <p:pic>
            <p:nvPicPr>
              <p:cNvPr id="174" name="그림 173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251786" y="791126"/>
                <a:ext cx="615566" cy="630591"/>
              </a:xfrm>
              <a:prstGeom prst="rect">
                <a:avLst/>
              </a:prstGeom>
            </p:spPr>
          </p:pic>
        </p:grpSp>
        <p:pic>
          <p:nvPicPr>
            <p:cNvPr id="171" name="그림 170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64209" y="6166528"/>
              <a:ext cx="373427" cy="437962"/>
            </a:xfrm>
            <a:prstGeom prst="rect">
              <a:avLst/>
            </a:prstGeom>
          </p:spPr>
        </p:pic>
        <p:pic>
          <p:nvPicPr>
            <p:cNvPr id="172" name="그림 17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232405" y="6258112"/>
              <a:ext cx="292999" cy="343634"/>
            </a:xfrm>
            <a:prstGeom prst="rect">
              <a:avLst/>
            </a:prstGeom>
          </p:spPr>
        </p:pic>
      </p:grpSp>
      <p:grpSp>
        <p:nvGrpSpPr>
          <p:cNvPr id="175" name="그룹 174"/>
          <p:cNvGrpSpPr/>
          <p:nvPr/>
        </p:nvGrpSpPr>
        <p:grpSpPr>
          <a:xfrm>
            <a:off x="5926977" y="5231918"/>
            <a:ext cx="1003635" cy="701217"/>
            <a:chOff x="6404868" y="2061599"/>
            <a:chExt cx="900950" cy="650816"/>
          </a:xfrm>
        </p:grpSpPr>
        <p:sp>
          <p:nvSpPr>
            <p:cNvPr id="176" name="폭발 2 175"/>
            <p:cNvSpPr/>
            <p:nvPr/>
          </p:nvSpPr>
          <p:spPr>
            <a:xfrm>
              <a:off x="6404868" y="2061599"/>
              <a:ext cx="900950" cy="650816"/>
            </a:xfrm>
            <a:prstGeom prst="irregularSeal2">
              <a:avLst/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0" dirty="0"/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6524625" y="2238610"/>
              <a:ext cx="6453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altLang="ko-KR" sz="900" b="1" dirty="0" smtClean="0"/>
            </a:p>
          </p:txBody>
        </p:sp>
      </p:grpSp>
      <p:grpSp>
        <p:nvGrpSpPr>
          <p:cNvPr id="178" name="그룹 177"/>
          <p:cNvGrpSpPr/>
          <p:nvPr/>
        </p:nvGrpSpPr>
        <p:grpSpPr>
          <a:xfrm>
            <a:off x="6751397" y="5467299"/>
            <a:ext cx="1511905" cy="639217"/>
            <a:chOff x="7991676" y="2368615"/>
            <a:chExt cx="1511905" cy="639217"/>
          </a:xfrm>
        </p:grpSpPr>
        <p:grpSp>
          <p:nvGrpSpPr>
            <p:cNvPr id="179" name="그룹 178"/>
            <p:cNvGrpSpPr/>
            <p:nvPr/>
          </p:nvGrpSpPr>
          <p:grpSpPr>
            <a:xfrm>
              <a:off x="7991676" y="2368615"/>
              <a:ext cx="1511905" cy="639217"/>
              <a:chOff x="7991676" y="2368615"/>
              <a:chExt cx="1511905" cy="639217"/>
            </a:xfrm>
          </p:grpSpPr>
          <p:pic>
            <p:nvPicPr>
              <p:cNvPr id="182" name="Picture 28" descr="남자 아이콘 - 149,414종의 무료 아이콘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1676" y="2500681"/>
                <a:ext cx="504000" cy="50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3" name="그룹 182"/>
              <p:cNvGrpSpPr/>
              <p:nvPr/>
            </p:nvGrpSpPr>
            <p:grpSpPr>
              <a:xfrm>
                <a:off x="8499827" y="2368615"/>
                <a:ext cx="1003754" cy="639217"/>
                <a:chOff x="6863598" y="782500"/>
                <a:chExt cx="1003754" cy="639217"/>
              </a:xfrm>
            </p:grpSpPr>
            <p:pic>
              <p:nvPicPr>
                <p:cNvPr id="184" name="그림 183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863598" y="782500"/>
                  <a:ext cx="383889" cy="630591"/>
                </a:xfrm>
                <a:prstGeom prst="rect">
                  <a:avLst/>
                </a:prstGeom>
              </p:spPr>
            </p:pic>
            <p:pic>
              <p:nvPicPr>
                <p:cNvPr id="185" name="그림 184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251786" y="791126"/>
                  <a:ext cx="615566" cy="630591"/>
                </a:xfrm>
                <a:prstGeom prst="rect">
                  <a:avLst/>
                </a:prstGeom>
              </p:spPr>
            </p:pic>
          </p:grpSp>
        </p:grpSp>
        <p:pic>
          <p:nvPicPr>
            <p:cNvPr id="180" name="그림 17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59794" y="2552519"/>
              <a:ext cx="262787" cy="255322"/>
            </a:xfrm>
            <a:prstGeom prst="rect">
              <a:avLst/>
            </a:prstGeom>
          </p:spPr>
        </p:pic>
        <p:pic>
          <p:nvPicPr>
            <p:cNvPr id="181" name="그림 18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1587" y="2454948"/>
              <a:ext cx="336249" cy="326697"/>
            </a:xfrm>
            <a:prstGeom prst="rect">
              <a:avLst/>
            </a:prstGeom>
          </p:spPr>
        </p:pic>
      </p:grpSp>
      <p:sp>
        <p:nvSpPr>
          <p:cNvPr id="186" name="TextBox 185"/>
          <p:cNvSpPr txBox="1"/>
          <p:nvPr/>
        </p:nvSpPr>
        <p:spPr>
          <a:xfrm>
            <a:off x="6527542" y="6195835"/>
            <a:ext cx="1959117" cy="388174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187" name="그룹 186"/>
          <p:cNvGrpSpPr/>
          <p:nvPr/>
        </p:nvGrpSpPr>
        <p:grpSpPr>
          <a:xfrm>
            <a:off x="8720771" y="5508162"/>
            <a:ext cx="819028" cy="515586"/>
            <a:chOff x="8745707" y="5591288"/>
            <a:chExt cx="819028" cy="515586"/>
          </a:xfrm>
        </p:grpSpPr>
        <p:grpSp>
          <p:nvGrpSpPr>
            <p:cNvPr id="188" name="그룹 187"/>
            <p:cNvGrpSpPr/>
            <p:nvPr/>
          </p:nvGrpSpPr>
          <p:grpSpPr>
            <a:xfrm>
              <a:off x="8745707" y="5716980"/>
              <a:ext cx="339866" cy="318139"/>
              <a:chOff x="6505564" y="4318936"/>
              <a:chExt cx="339866" cy="318139"/>
            </a:xfrm>
          </p:grpSpPr>
          <p:pic>
            <p:nvPicPr>
              <p:cNvPr id="190" name="그림 18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1" name="그림 19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  <p:pic>
          <p:nvPicPr>
            <p:cNvPr id="189" name="그림 18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020" y="5591288"/>
              <a:ext cx="483715" cy="515586"/>
            </a:xfrm>
            <a:prstGeom prst="rect">
              <a:avLst/>
            </a:prstGeom>
          </p:spPr>
        </p:pic>
      </p:grpSp>
      <p:cxnSp>
        <p:nvCxnSpPr>
          <p:cNvPr id="192" name="직선 화살표 연결선 191"/>
          <p:cNvCxnSpPr>
            <a:stCxn id="185" idx="3"/>
            <a:endCxn id="190" idx="1"/>
          </p:cNvCxnSpPr>
          <p:nvPr/>
        </p:nvCxnSpPr>
        <p:spPr>
          <a:xfrm>
            <a:off x="8263302" y="5791221"/>
            <a:ext cx="457469" cy="1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8569377" y="6182250"/>
            <a:ext cx="1221736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grpSp>
        <p:nvGrpSpPr>
          <p:cNvPr id="195" name="그룹 194"/>
          <p:cNvGrpSpPr/>
          <p:nvPr/>
        </p:nvGrpSpPr>
        <p:grpSpPr>
          <a:xfrm>
            <a:off x="4724072" y="2833532"/>
            <a:ext cx="610707" cy="396594"/>
            <a:chOff x="8601677" y="2185846"/>
            <a:chExt cx="610707" cy="396594"/>
          </a:xfrm>
        </p:grpSpPr>
        <p:pic>
          <p:nvPicPr>
            <p:cNvPr id="196" name="그림 19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8834986" y="2185846"/>
              <a:ext cx="377398" cy="396594"/>
            </a:xfrm>
            <a:prstGeom prst="rect">
              <a:avLst/>
            </a:prstGeom>
          </p:spPr>
        </p:pic>
        <p:grpSp>
          <p:nvGrpSpPr>
            <p:cNvPr id="197" name="그룹 196"/>
            <p:cNvGrpSpPr/>
            <p:nvPr/>
          </p:nvGrpSpPr>
          <p:grpSpPr>
            <a:xfrm>
              <a:off x="8601677" y="2283868"/>
              <a:ext cx="252000" cy="252000"/>
              <a:chOff x="6505564" y="4318936"/>
              <a:chExt cx="339866" cy="318139"/>
            </a:xfrm>
          </p:grpSpPr>
          <p:pic>
            <p:nvPicPr>
              <p:cNvPr id="198" name="그림 197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199" name="그림 19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grpSp>
        <p:nvGrpSpPr>
          <p:cNvPr id="7" name="그룹 6"/>
          <p:cNvGrpSpPr/>
          <p:nvPr/>
        </p:nvGrpSpPr>
        <p:grpSpPr>
          <a:xfrm>
            <a:off x="4709666" y="2130335"/>
            <a:ext cx="653787" cy="403681"/>
            <a:chOff x="4510161" y="3003173"/>
            <a:chExt cx="653787" cy="403681"/>
          </a:xfrm>
        </p:grpSpPr>
        <p:pic>
          <p:nvPicPr>
            <p:cNvPr id="194" name="그림 19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5221" y="3003173"/>
              <a:ext cx="378727" cy="403681"/>
            </a:xfrm>
            <a:prstGeom prst="rect">
              <a:avLst/>
            </a:prstGeom>
          </p:spPr>
        </p:pic>
        <p:grpSp>
          <p:nvGrpSpPr>
            <p:cNvPr id="202" name="그룹 201"/>
            <p:cNvGrpSpPr/>
            <p:nvPr/>
          </p:nvGrpSpPr>
          <p:grpSpPr>
            <a:xfrm>
              <a:off x="4510161" y="3101196"/>
              <a:ext cx="252000" cy="252000"/>
              <a:chOff x="6505564" y="4318936"/>
              <a:chExt cx="339866" cy="318139"/>
            </a:xfrm>
          </p:grpSpPr>
          <p:pic>
            <p:nvPicPr>
              <p:cNvPr id="203" name="그림 202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05564" y="4318936"/>
                <a:ext cx="339866" cy="318139"/>
              </a:xfrm>
              <a:prstGeom prst="rect">
                <a:avLst/>
              </a:prstGeom>
            </p:spPr>
          </p:pic>
          <p:pic>
            <p:nvPicPr>
              <p:cNvPr id="204" name="그림 203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841" y="4404178"/>
                <a:ext cx="130665" cy="159070"/>
              </a:xfrm>
              <a:prstGeom prst="rect">
                <a:avLst/>
              </a:prstGeom>
            </p:spPr>
          </p:pic>
        </p:grpSp>
      </p:grpSp>
      <p:cxnSp>
        <p:nvCxnSpPr>
          <p:cNvPr id="9" name="꺾인 연결선 8"/>
          <p:cNvCxnSpPr>
            <a:stCxn id="67" idx="3"/>
            <a:endCxn id="203" idx="1"/>
          </p:cNvCxnSpPr>
          <p:nvPr/>
        </p:nvCxnSpPr>
        <p:spPr>
          <a:xfrm flipV="1">
            <a:off x="3837305" y="2354358"/>
            <a:ext cx="872361" cy="2771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/>
          <p:cNvSpPr txBox="1"/>
          <p:nvPr/>
        </p:nvSpPr>
        <p:spPr>
          <a:xfrm>
            <a:off x="4502537" y="2528062"/>
            <a:ext cx="1247384" cy="211203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spAutoFit/>
          </a:bodyPr>
          <a:lstStyle/>
          <a:p>
            <a:pPr marL="108000" indent="-144000">
              <a:spcBef>
                <a:spcPts val="300"/>
              </a:spcBef>
              <a:buFont typeface="Wingdings" pitchFamily="2" charset="2"/>
              <a:buChar char="ü"/>
            </a:pPr>
            <a:endParaRPr lang="en-US" altLang="ko-KR" sz="900" dirty="0" smtClean="0">
              <a:latin typeface="+mn-ea"/>
            </a:endParaRPr>
          </a:p>
        </p:txBody>
      </p:sp>
      <p:cxnSp>
        <p:nvCxnSpPr>
          <p:cNvPr id="206" name="꺾인 연결선 205"/>
          <p:cNvCxnSpPr>
            <a:stCxn id="68" idx="3"/>
            <a:endCxn id="198" idx="1"/>
          </p:cNvCxnSpPr>
          <p:nvPr/>
        </p:nvCxnSpPr>
        <p:spPr>
          <a:xfrm>
            <a:off x="3778365" y="2634740"/>
            <a:ext cx="945707" cy="422814"/>
          </a:xfrm>
          <a:prstGeom prst="bentConnector3">
            <a:avLst>
              <a:gd name="adj1" fmla="val 5263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332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 marL="0" indent="0">
              <a:buNone/>
            </a:pPr>
            <a:r>
              <a:t>5. 화면 목록 - 웹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16" name="텍스트 개체 틀 9"/>
          <p:cNvSpPr txBox="1">
            <a:spLocks/>
          </p:cNvSpPr>
          <p:nvPr/>
        </p:nvSpPr>
        <p:spPr>
          <a:xfrm>
            <a:off x="270064" y="1157078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웹 어드민 화면 목록 (총 8개 화면)</a:t>
            </a:r>
            <a:endParaRPr lang="ko-KR" altLang="en-US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07730"/>
              </p:ext>
            </p:extLst>
          </p:nvPr>
        </p:nvGraphicFramePr>
        <p:xfrm>
          <a:off x="466878" y="1596025"/>
          <a:ext cx="8856001" cy="3998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5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6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62609"/>
                <a:gridCol w="211773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0935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구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내역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주체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비고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711">
                <a:tc gridSpan="2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Bold" panose="020B0800000000000000" pitchFamily="34" charset="-127"/>
                        <a:ea typeface="본고딕 Bold" panose="020B08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시스템즈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제강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설비관리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유지보수담당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1977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비관리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공조설비 세부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Data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제공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정보 제공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출력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부착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1977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구축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설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현업 요구사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분석 및 설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개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모바일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화면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웹 화면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테스트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사용자 교육 실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본가동 및 안정화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836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34345"/>
            <a:ext cx="6172693" cy="443198"/>
          </a:xfrm>
        </p:spPr>
        <p:txBody>
          <a:bodyPr/>
          <a:lstStyle/>
          <a:p>
            <a:pPr marL="0" indent="0">
              <a:buNone/>
            </a:pPr>
            <a:r>
              <a:t>5. 화면 목록 - 모바일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5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16" name="텍스트 개체 틀 9"/>
          <p:cNvSpPr txBox="1">
            <a:spLocks/>
          </p:cNvSpPr>
          <p:nvPr/>
        </p:nvSpPr>
        <p:spPr>
          <a:xfrm>
            <a:off x="270064" y="1157078"/>
            <a:ext cx="9360550" cy="877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6700" indent="-266700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▐"/>
              <a:tabLst/>
              <a:defRPr sz="1600" kern="1200" spc="-20" baseline="0">
                <a:solidFill>
                  <a:schemeClr val="tx1"/>
                </a:solidFill>
                <a:latin typeface="본고딕 Medium" pitchFamily="34" charset="-127"/>
                <a:ea typeface="본고딕 Medium" pitchFamily="34" charset="-127"/>
                <a:cs typeface="+mn-cs"/>
              </a:defRPr>
            </a:lvl1pPr>
            <a:lvl2pPr marL="449263" indent="-18256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182563" algn="l"/>
              </a:tabLst>
              <a:defRPr sz="14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defTabSz="914400" rtl="0" eaLnBrk="1" latinLnBrk="1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본고딕 Normal" panose="020B0400000000000000" pitchFamily="34" charset="-127"/>
              <a:buChar char="‒"/>
              <a:tabLst>
                <a:tab pos="541338" algn="l"/>
              </a:tabLst>
              <a:defRPr sz="12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t>모바일 앱 화면 목록 (총 12개 화면)</a:t>
            </a:r>
            <a:endParaRPr lang="ko-KR" altLang="en-US" dirty="0"/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07730"/>
              </p:ext>
            </p:extLst>
          </p:nvPr>
        </p:nvGraphicFramePr>
        <p:xfrm>
          <a:off x="466878" y="1596025"/>
          <a:ext cx="8856001" cy="3998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5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6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6260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62609"/>
                <a:gridCol w="211773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0935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구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내역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  <a:cs typeface="+mn-cs"/>
                        </a:rPr>
                        <a:t>수행주체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비고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711">
                <a:tc gridSpan="2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Bold" panose="020B0800000000000000" pitchFamily="34" charset="-127"/>
                        <a:ea typeface="본고딕 Bold" panose="020B08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시스템즈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동국제강</a:t>
                      </a:r>
                      <a:endParaRPr lang="en-US" altLang="ko-KR" sz="1050" b="0" dirty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설비관리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Medium" panose="020B0600000000000000" pitchFamily="34" charset="-127"/>
                          <a:ea typeface="본고딕 Medium" panose="020B0600000000000000" pitchFamily="34" charset="-127"/>
                        </a:rPr>
                        <a:t>유지보수담당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1977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설비관리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공조설비 세부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Data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제공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정보 제공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QR CODE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출력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부착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1977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구축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설계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현업 요구사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시스템 분석 및 설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개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모바일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화면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kern="1200" baseline="0" dirty="0" smtClean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웹 화면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/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기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197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프로그램 테스트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사용자 교육 실시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9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본가동 및 안정화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smtClean="0">
                        <a:solidFill>
                          <a:schemeClr val="tx1"/>
                        </a:solidFill>
                        <a:latin typeface="본고딕 Medium" panose="020B0600000000000000" pitchFamily="34" charset="-127"/>
                        <a:ea typeface="본고딕 Medium" panose="020B0600000000000000" pitchFamily="34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본고딕 Normal" panose="020B0400000000000000" pitchFamily="34" charset="-127"/>
                          <a:ea typeface="본고딕 Normal" panose="020B0400000000000000" pitchFamily="34" charset="-127"/>
                        </a:rPr>
                        <a:t> 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본고딕 Normal" panose="020B0400000000000000" pitchFamily="34" charset="-127"/>
                        <a:ea typeface="본고딕 Normal" panose="020B0400000000000000" pitchFamily="34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9"/>
          </p:nvPr>
        </p:nvSpPr>
        <p:spPr>
          <a:xfrm>
            <a:off x="272833" y="125112"/>
            <a:ext cx="6172693" cy="461665"/>
          </a:xfrm>
        </p:spPr>
        <p:txBody>
          <a:bodyPr/>
          <a:lstStyle/>
          <a:p>
            <a:pPr marL="0" indent="0">
              <a:buNone/>
            </a:pPr>
            <a:r>
              <a:t>6. 화면 설계 - 웹 대시보드</a:t>
            </a: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4650854-40C0-43E7-BFE1-FF212316D624}" type="slidenum">
              <a:rPr lang="ko-KR" altLang="en-US" smtClean="0"/>
              <a:pPr/>
              <a:t>11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/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l="15718" t="10127"/>
          <a:stretch/>
        </p:blipFill>
        <p:spPr>
          <a:xfrm>
            <a:off x="361656" y="1110376"/>
            <a:ext cx="9056216" cy="5282111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361656" y="1110376"/>
            <a:ext cx="9056216" cy="53486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795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fDxmQRFKPI4nuOO6g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xuVT9SgS5FEtnWf0j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동국제강">
      <a:dk1>
        <a:srgbClr val="262626"/>
      </a:dk1>
      <a:lt1>
        <a:srgbClr val="FFFFFF"/>
      </a:lt1>
      <a:dk2>
        <a:srgbClr val="002452"/>
      </a:dk2>
      <a:lt2>
        <a:srgbClr val="B6B6B6"/>
      </a:lt2>
      <a:accent1>
        <a:srgbClr val="757575"/>
      </a:accent1>
      <a:accent2>
        <a:srgbClr val="4B6580"/>
      </a:accent2>
      <a:accent3>
        <a:srgbClr val="B7D0D4"/>
      </a:accent3>
      <a:accent4>
        <a:srgbClr val="C51F2A"/>
      </a:accent4>
      <a:accent5>
        <a:srgbClr val="D55633"/>
      </a:accent5>
      <a:accent6>
        <a:srgbClr val="E9B86E"/>
      </a:accent6>
      <a:hlink>
        <a:srgbClr val="0563C1"/>
      </a:hlink>
      <a:folHlink>
        <a:srgbClr val="954F72"/>
      </a:folHlink>
    </a:clrScheme>
    <a:fontScheme name="동국제강">
      <a:majorFont>
        <a:latin typeface="본고딕 Medium"/>
        <a:ea typeface="본고딕 Medium"/>
        <a:cs typeface=""/>
      </a:majorFont>
      <a:minorFont>
        <a:latin typeface="본고딕 Normal"/>
        <a:ea typeface="본고딕 Normal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07</TotalTime>
  <Words>989</Words>
  <Application>Microsoft Office PowerPoint</Application>
  <PresentationFormat>A4 용지(210x297mm)</PresentationFormat>
  <Paragraphs>302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5" baseType="lpstr">
      <vt:lpstr>맑은 고딕</vt:lpstr>
      <vt:lpstr>본고딕 Bold</vt:lpstr>
      <vt:lpstr>본고딕 Medium</vt:lpstr>
      <vt:lpstr>본고딕 Normal</vt:lpstr>
      <vt:lpstr>Arial</vt:lpstr>
      <vt:lpstr>Wingdings</vt:lpstr>
      <vt:lpstr>1_Office 테마</vt:lpstr>
      <vt:lpstr>think-cell 슬라이드</vt:lpstr>
      <vt:lpstr>동국제강 공조설비 정비관리 시스템 구축 사전 설명회</vt:lpstr>
      <vt:lpstr>PowerPoint 프레젠테이션</vt:lpstr>
      <vt:lpstr>동국제강 포항 공장 공조설비 정비관리 시스템 구축</vt:lpstr>
      <vt:lpstr>PowerPoint 프레젠테이션</vt:lpstr>
      <vt:lpstr>담당자 고장 신고 모바일 화면</vt:lpstr>
      <vt:lpstr>승인권자 고장 신고 내역 확인 후 승인/반려 처리 모바일 화면</vt:lpstr>
      <vt:lpstr>고장 접수 담당자가 고장 신고 내역 확인 후 접수하는 모바일 화면</vt:lpstr>
      <vt:lpstr>정비 담당자가 작업 시작 처리하는 모바일 화면</vt:lpstr>
      <vt:lpstr>정비 담당자가 작업 완료 처리하는 모바일 화면</vt:lpstr>
      <vt:lpstr>관리자가 설비 정비 결과 확인 후 종료 처리하는 모바일 화면</vt:lpstr>
      <vt:lpstr>공조 설비 정비 진행 현황을 파악하는 대시보드 화면</vt:lpstr>
      <vt:lpstr>공조 설비 단위 정비 이력 정보 조회 화면</vt:lpstr>
      <vt:lpstr>정비 진행 대상 전체 조회 및 백업처리(고장등록/승인&amp;반려/일정변경/종료)</vt:lpstr>
      <vt:lpstr>정비 진행 대상 전체 조회 및 백업처리(고장등록/승인&amp;반려/일정변경/종료)</vt:lpstr>
      <vt:lpstr>PowerPoint 프레젠테이션</vt:lpstr>
      <vt:lpstr>Q &amp; A</vt:lpstr>
      <vt:lpstr>감사합니다.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동국제강그룹  문서 템플릿 통합 계획안</dc:title>
  <dc:creator>heeseung.jang</dc:creator>
  <cp:lastModifiedBy>buseok.wang</cp:lastModifiedBy>
  <cp:revision>463</cp:revision>
  <cp:lastPrinted>2019-05-22T08:24:59Z</cp:lastPrinted>
  <dcterms:created xsi:type="dcterms:W3CDTF">2019-03-13T02:13:57Z</dcterms:created>
  <dcterms:modified xsi:type="dcterms:W3CDTF">2025-12-18T00:23:06Z</dcterms:modified>
</cp:coreProperties>
</file>